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  <p:sldMasterId id="2147483852" r:id="rId6"/>
    <p:sldMasterId id="2147483933" r:id="rId7"/>
    <p:sldMasterId id="2147483935" r:id="rId8"/>
    <p:sldMasterId id="2147483945" r:id="rId9"/>
    <p:sldMasterId id="2147483947" r:id="rId10"/>
    <p:sldMasterId id="2147483993" r:id="rId11"/>
    <p:sldMasterId id="2147484005" r:id="rId12"/>
  </p:sldMasterIdLst>
  <p:notesMasterIdLst>
    <p:notesMasterId r:id="rId59"/>
  </p:notesMasterIdLst>
  <p:sldIdLst>
    <p:sldId id="256" r:id="rId13"/>
    <p:sldId id="2147483513" r:id="rId14"/>
    <p:sldId id="276" r:id="rId15"/>
    <p:sldId id="2147481238" r:id="rId16"/>
    <p:sldId id="2147481286" r:id="rId17"/>
    <p:sldId id="2147481257" r:id="rId18"/>
    <p:sldId id="2147481550" r:id="rId19"/>
    <p:sldId id="2147483514" r:id="rId20"/>
    <p:sldId id="2147481538" r:id="rId21"/>
    <p:sldId id="2147481539" r:id="rId22"/>
    <p:sldId id="2147481540" r:id="rId23"/>
    <p:sldId id="2147483470" r:id="rId24"/>
    <p:sldId id="2147483515" r:id="rId25"/>
    <p:sldId id="2147483516" r:id="rId26"/>
    <p:sldId id="2147483517" r:id="rId27"/>
    <p:sldId id="2147483522" r:id="rId28"/>
    <p:sldId id="2147483518" r:id="rId29"/>
    <p:sldId id="2147481526" r:id="rId30"/>
    <p:sldId id="2147483519" r:id="rId31"/>
    <p:sldId id="258" r:id="rId32"/>
    <p:sldId id="2147483520" r:id="rId33"/>
    <p:sldId id="2147483521" r:id="rId34"/>
    <p:sldId id="280" r:id="rId35"/>
    <p:sldId id="289" r:id="rId36"/>
    <p:sldId id="264" r:id="rId37"/>
    <p:sldId id="273" r:id="rId38"/>
    <p:sldId id="257" r:id="rId39"/>
    <p:sldId id="259" r:id="rId40"/>
    <p:sldId id="261" r:id="rId41"/>
    <p:sldId id="271" r:id="rId42"/>
    <p:sldId id="278" r:id="rId43"/>
    <p:sldId id="279" r:id="rId44"/>
    <p:sldId id="2147483488" r:id="rId45"/>
    <p:sldId id="2147483489" r:id="rId46"/>
    <p:sldId id="2147481537" r:id="rId47"/>
    <p:sldId id="281" r:id="rId48"/>
    <p:sldId id="267" r:id="rId49"/>
    <p:sldId id="275" r:id="rId50"/>
    <p:sldId id="2147483497" r:id="rId51"/>
    <p:sldId id="2147483498" r:id="rId52"/>
    <p:sldId id="2147483499" r:id="rId53"/>
    <p:sldId id="2147483500" r:id="rId54"/>
    <p:sldId id="2147483523" r:id="rId55"/>
    <p:sldId id="2147481531" r:id="rId56"/>
    <p:sldId id="2147481244" r:id="rId57"/>
    <p:sldId id="2147483486" r:id="rId58"/>
  </p:sldIdLst>
  <p:sldSz cx="12192000" cy="6858000"/>
  <p:notesSz cx="7023100" cy="93091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45310D-103A-C38E-CE73-98EB707DF029}" name="Fritz, Samuel B. (ANF)" initials="" userId="S::Samuel.B.Fritz@mass.gov::0242f317-a9c7-40e6-a6e6-ebbdcde2729e" providerId="AD"/>
  <p188:author id="{3CD06C1D-5D6D-0472-D810-473C14D02249}" name="Leonarte Paredes, Micaela (A&amp;F)" initials="" userId="S::Micaela.LeonarteParedes@mass.gov::9dd405bc-2413-4d02-bb30-9534b8884de8" providerId="AD"/>
  <p188:author id="{31AF9229-7526-E3F3-C778-732880ACED27}" name="Groustra, Ben (A&amp;F)" initials="G(" userId="S::ben.groustra@mass.gov::93c7cb06-fbde-4e9d-91a2-8dc2b77985d2" providerId="AD"/>
  <p188:author id="{3CB4B92D-0F62-D102-04B8-E54BD6F9742D}" name="Aggarwal, Pragun" initials="AP" userId="S::pragun_aggarwal@hks.harvard.edu::d17f6441-8b0a-45af-b7d1-a84c3adc9f6d" providerId="AD"/>
  <p188:author id="{82211E40-2100-E4DA-2CB3-D23B2F7B289F}" name="Strain, Mallory (A&amp;F)" initials="S(" userId="S::mallory.strain@mass.gov::7f2f9c2c-98ee-44e6-afe8-8ea6a9111392" providerId="AD"/>
  <p188:author id="{BDD5D365-E27C-FDFC-CB05-1A816150EECC}" name="Shim, Bran" initials="SB" userId="S::branshim@hks.harvard.edu::9f47106e-5dd4-4556-a313-7df4dfbbd886" providerId="AD"/>
  <p188:author id="{7F5F6D71-F7AA-90A2-B567-5D2417BF3D77}" name="Jauhar, Mehar (A&amp;F)" initials="JM" userId="S::mehar.jauhar@mass.gov::6b184fc0-f80d-46ab-a4ba-4a5755ad07a6" providerId="AD"/>
  <p188:author id="{3830AA89-7192-CE43-C124-A5DF848E6D3E}" name="Martin, Grace" initials="GM" userId="S::gracemartin@hks.harvard.edu::72351cea-41f8-4762-86f4-19e58f629fce" providerId="AD"/>
  <p188:author id="{9DD590AF-D77F-DF04-A9DF-ADAF05034B24}" name="Strain, Mallory (A&amp;F)" initials="MS" userId="S::Mallory.Strain@mass.gov::7f2f9c2c-98ee-44e6-afe8-8ea6a9111392" providerId="AD"/>
  <p188:author id="{6FD793B5-7AB6-D932-9082-DFCC3A7B966E}" name="Leonarte Paredes, Micaela (A&amp;F)" initials="L(" userId="S::micaela.leonarteparedes@mass.gov::9dd405bc-2413-4d02-bb30-9534b8884de8" providerId="AD"/>
  <p188:author id="{6D2E8CCE-0F6D-799C-B695-F7F81E3984A1}" name="Silalahi, Nathania" initials="SN" userId="S::nathania_silalahi@hks.harvard.edu::44c0052f-2c1f-4c11-8fa3-ef0aa4c7ce8e" providerId="AD"/>
  <p188:author id="{BF9473CF-C86E-5964-FF22-5A02877A5513}" name="Ben Groustra" initials="BG" userId="S::Ben.Groustra@mass.gov::93c7cb06-fbde-4e9d-91a2-8dc2b77985d2" providerId="AD"/>
  <p188:author id="{51A36AD0-C9C7-A60A-B190-66937E27C47A}" name="Fritz, Samuel B. (ANF)" initials="F(" userId="S::samuel.b.fritz@mass.gov::0242f317-a9c7-40e6-a6e6-ebbdcde2729e" providerId="AD"/>
  <p188:author id="{FFA027D5-5C5D-CA49-E4AD-C8603A2DF3FC}" name="LaRocca, Robert E. (A&amp;F)" initials="" userId="S::Robert.E.LaRocca@mass.gov::ceee8bfd-19b9-4b75-a601-a6435830a151" providerId="AD"/>
  <p188:author id="{8C23C4E1-5A5B-B24F-9C4F-9EC9608C1A99}" name="Jauhar, Mehar (A&amp;F)" initials="" userId="S::Mehar.Jauhar@mass.gov::6b184fc0-f80d-46ab-a4ba-4a5755ad07a6" providerId="AD"/>
  <p188:author id="{34B14DF6-F737-30E6-0A2A-A30C85CE4E22}" name="LaRocca, Robert E. (A&amp;F)" initials="L(" userId="S::robert.e.larocca@mass.gov::ceee8bfd-19b9-4b75-a601-a6435830a151" providerId="AD"/>
  <p188:author id="{7B3844F7-7C9B-8860-3263-73F8DC1D4507}" name="mehar jauhar" initials="mj" userId="70c90a97f9be0670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ADE4"/>
    <a:srgbClr val="0055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5" Type="http://schemas.openxmlformats.org/officeDocument/2006/relationships/slideMaster" Target="slideMasters/slideMaster2.xml"/><Relationship Id="rId61" Type="http://schemas.openxmlformats.org/officeDocument/2006/relationships/viewProps" Target="viewProps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9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presProps" Target="presProps.xml"/><Relationship Id="rId65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uhar, Mehar (A&amp;F)" userId="6b184fc0-f80d-46ab-a4ba-4a5755ad07a6" providerId="ADAL" clId="{B81E14FF-A61D-9B44-917F-5B3F9427202F}"/>
    <pc:docChg chg="undo redo custSel addSld delSld modSld sldOrd">
      <pc:chgData name="Jauhar, Mehar (A&amp;F)" userId="6b184fc0-f80d-46ab-a4ba-4a5755ad07a6" providerId="ADAL" clId="{B81E14FF-A61D-9B44-917F-5B3F9427202F}" dt="2025-02-11T17:03:29.977" v="3300" actId="1076"/>
      <pc:docMkLst>
        <pc:docMk/>
      </pc:docMkLst>
      <pc:sldChg chg="modSp mod">
        <pc:chgData name="Jauhar, Mehar (A&amp;F)" userId="6b184fc0-f80d-46ab-a4ba-4a5755ad07a6" providerId="ADAL" clId="{B81E14FF-A61D-9B44-917F-5B3F9427202F}" dt="2025-02-06T23:10:00.612" v="53"/>
        <pc:sldMkLst>
          <pc:docMk/>
          <pc:sldMk cId="1706473524" sldId="256"/>
        </pc:sldMkLst>
        <pc:spChg chg="mod">
          <ac:chgData name="Jauhar, Mehar (A&amp;F)" userId="6b184fc0-f80d-46ab-a4ba-4a5755ad07a6" providerId="ADAL" clId="{B81E14FF-A61D-9B44-917F-5B3F9427202F}" dt="2025-02-06T23:10:00.612" v="53"/>
          <ac:spMkLst>
            <pc:docMk/>
            <pc:sldMk cId="1706473524" sldId="256"/>
            <ac:spMk id="3" creationId="{6BF96C16-BDB2-15EE-4778-FA5D2DB3A873}"/>
          </ac:spMkLst>
        </pc:spChg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603070670" sldId="25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19316017" sldId="26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26100562" sldId="26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708320190" sldId="266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05261175" sldId="273"/>
        </pc:sldMkLst>
      </pc:sldChg>
      <pc:sldChg chg="modSp">
        <pc:chgData name="Jauhar, Mehar (A&amp;F)" userId="6b184fc0-f80d-46ab-a4ba-4a5755ad07a6" providerId="ADAL" clId="{B81E14FF-A61D-9B44-917F-5B3F9427202F}" dt="2025-02-06T23:15:19.352" v="158" actId="20577"/>
        <pc:sldMkLst>
          <pc:docMk/>
          <pc:sldMk cId="2568010536" sldId="276"/>
        </pc:sldMkLst>
        <pc:graphicFrameChg chg="mod">
          <ac:chgData name="Jauhar, Mehar (A&amp;F)" userId="6b184fc0-f80d-46ab-a4ba-4a5755ad07a6" providerId="ADAL" clId="{B81E14FF-A61D-9B44-917F-5B3F9427202F}" dt="2025-02-06T23:15:19.352" v="158" actId="20577"/>
          <ac:graphicFrameMkLst>
            <pc:docMk/>
            <pc:sldMk cId="2568010536" sldId="276"/>
            <ac:graphicFrameMk id="3" creationId="{049C94AF-0C06-CB3D-9E4E-9BB946594321}"/>
          </ac:graphicFrameMkLst>
        </pc:graphicFrameChg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81167386" sldId="284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39978763" sldId="290"/>
        </pc:sldMkLst>
      </pc:sldChg>
      <pc:sldChg chg="addSp delSp modSp mod ord addCm modCm">
        <pc:chgData name="Jauhar, Mehar (A&amp;F)" userId="6b184fc0-f80d-46ab-a4ba-4a5755ad07a6" providerId="ADAL" clId="{B81E14FF-A61D-9B44-917F-5B3F9427202F}" dt="2025-02-11T00:39:24.075" v="3279"/>
        <pc:sldMkLst>
          <pc:docMk/>
          <pc:sldMk cId="1561720608" sldId="2147481257"/>
        </pc:sldMkLst>
        <pc:spChg chg="add del mod">
          <ac:chgData name="Jauhar, Mehar (A&amp;F)" userId="6b184fc0-f80d-46ab-a4ba-4a5755ad07a6" providerId="ADAL" clId="{B81E14FF-A61D-9B44-917F-5B3F9427202F}" dt="2025-02-07T17:09:48.577" v="766" actId="1076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1T00:39:24.075" v="3279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  <pc226:cmRplyChg chg="add">
                <pc226:chgData name="Jauhar, Mehar (A&amp;F)" userId="6b184fc0-f80d-46ab-a4ba-4a5755ad07a6" providerId="ADAL" clId="{B81E14FF-A61D-9B44-917F-5B3F9427202F}" dt="2025-02-11T00:39:20.142" v="3278"/>
                <pc2:cmRplyMkLst xmlns:pc2="http://schemas.microsoft.com/office/powerpoint/2019/9/main/command">
                  <pc:docMk/>
                  <pc:sldMk cId="1561720608" sldId="2147481257"/>
                  <pc2:cmMk id="{A9C47818-4319-1843-81A9-FB19AAE260BA}"/>
                  <pc2:cmRplyMk id="{8DE80ABD-1F18-D748-9CE9-CE9E63E97437}"/>
                </pc2:cmRplyMkLst>
              </pc226:cmRplyChg>
            </pc226:cmChg>
          </p:ext>
        </pc:extLst>
      </pc:sldChg>
      <pc:sldChg chg="modSp del mod">
        <pc:chgData name="Jauhar, Mehar (A&amp;F)" userId="6b184fc0-f80d-46ab-a4ba-4a5755ad07a6" providerId="ADAL" clId="{B81E14FF-A61D-9B44-917F-5B3F9427202F}" dt="2025-02-07T17:28:07.768" v="1267" actId="2696"/>
        <pc:sldMkLst>
          <pc:docMk/>
          <pc:sldMk cId="2945711600" sldId="2147481260"/>
        </pc:sldMkLst>
      </pc:sldChg>
      <pc:sldChg chg="add del">
        <pc:chgData name="Jauhar, Mehar (A&amp;F)" userId="6b184fc0-f80d-46ab-a4ba-4a5755ad07a6" providerId="ADAL" clId="{B81E14FF-A61D-9B44-917F-5B3F9427202F}" dt="2025-02-07T17:44:05.668" v="1294" actId="2696"/>
        <pc:sldMkLst>
          <pc:docMk/>
          <pc:sldMk cId="738039773" sldId="2147481266"/>
        </pc:sldMkLst>
      </pc:sldChg>
      <pc:sldChg chg="del">
        <pc:chgData name="Jauhar, Mehar (A&amp;F)" userId="6b184fc0-f80d-46ab-a4ba-4a5755ad07a6" providerId="ADAL" clId="{B81E14FF-A61D-9B44-917F-5B3F9427202F}" dt="2025-02-07T17:28:05.434" v="1265" actId="2696"/>
        <pc:sldMkLst>
          <pc:docMk/>
          <pc:sldMk cId="1097958594" sldId="2147481280"/>
        </pc:sldMkLst>
      </pc:sldChg>
      <pc:sldChg chg="ord">
        <pc:chgData name="Jauhar, Mehar (A&amp;F)" userId="6b184fc0-f80d-46ab-a4ba-4a5755ad07a6" providerId="ADAL" clId="{B81E14FF-A61D-9B44-917F-5B3F9427202F}" dt="2025-02-06T23:13:04.721" v="76" actId="20578"/>
        <pc:sldMkLst>
          <pc:docMk/>
          <pc:sldMk cId="3090884649" sldId="2147481286"/>
        </pc:sldMkLst>
      </pc:sldChg>
      <pc:sldChg chg="del">
        <pc:chgData name="Jauhar, Mehar (A&amp;F)" userId="6b184fc0-f80d-46ab-a4ba-4a5755ad07a6" providerId="ADAL" clId="{B81E14FF-A61D-9B44-917F-5B3F9427202F}" dt="2025-02-06T23:17:09.216" v="262" actId="2696"/>
        <pc:sldMkLst>
          <pc:docMk/>
          <pc:sldMk cId="320107703" sldId="2147481328"/>
        </pc:sldMkLst>
      </pc:sldChg>
      <pc:sldChg chg="del">
        <pc:chgData name="Jauhar, Mehar (A&amp;F)" userId="6b184fc0-f80d-46ab-a4ba-4a5755ad07a6" providerId="ADAL" clId="{B81E14FF-A61D-9B44-917F-5B3F9427202F}" dt="2025-02-06T23:17:10.062" v="264" actId="2696"/>
        <pc:sldMkLst>
          <pc:docMk/>
          <pc:sldMk cId="4251929413" sldId="2147481401"/>
        </pc:sldMkLst>
      </pc:sldChg>
      <pc:sldChg chg="modSp del mod ord modNotesTx">
        <pc:chgData name="Jauhar, Mehar (A&amp;F)" userId="6b184fc0-f80d-46ab-a4ba-4a5755ad07a6" providerId="ADAL" clId="{B81E14FF-A61D-9B44-917F-5B3F9427202F}" dt="2025-02-07T17:22:23.729" v="1178" actId="2696"/>
        <pc:sldMkLst>
          <pc:docMk/>
          <pc:sldMk cId="1513769258" sldId="2147481409"/>
        </pc:sldMkLst>
      </pc:sldChg>
      <pc:sldChg chg="del">
        <pc:chgData name="Jauhar, Mehar (A&amp;F)" userId="6b184fc0-f80d-46ab-a4ba-4a5755ad07a6" providerId="ADAL" clId="{B81E14FF-A61D-9B44-917F-5B3F9427202F}" dt="2025-02-06T23:13:51.024" v="86" actId="2696"/>
        <pc:sldMkLst>
          <pc:docMk/>
          <pc:sldMk cId="23261542" sldId="2147481510"/>
        </pc:sldMkLst>
      </pc:sldChg>
      <pc:sldChg chg="del">
        <pc:chgData name="Jauhar, Mehar (A&amp;F)" userId="6b184fc0-f80d-46ab-a4ba-4a5755ad07a6" providerId="ADAL" clId="{B81E14FF-A61D-9B44-917F-5B3F9427202F}" dt="2025-02-07T17:27:45.238" v="1261" actId="2696"/>
        <pc:sldMkLst>
          <pc:docMk/>
          <pc:sldMk cId="172535155" sldId="2147481513"/>
        </pc:sldMkLst>
      </pc:sldChg>
      <pc:sldChg chg="del">
        <pc:chgData name="Jauhar, Mehar (A&amp;F)" userId="6b184fc0-f80d-46ab-a4ba-4a5755ad07a6" providerId="ADAL" clId="{B81E14FF-A61D-9B44-917F-5B3F9427202F}" dt="2025-02-06T23:13:51.580" v="87" actId="2696"/>
        <pc:sldMkLst>
          <pc:docMk/>
          <pc:sldMk cId="1310640484" sldId="2147481514"/>
        </pc:sldMkLst>
      </pc:sldChg>
      <pc:sldChg chg="del">
        <pc:chgData name="Jauhar, Mehar (A&amp;F)" userId="6b184fc0-f80d-46ab-a4ba-4a5755ad07a6" providerId="ADAL" clId="{B81E14FF-A61D-9B44-917F-5B3F9427202F}" dt="2025-02-07T17:26:48.026" v="1254" actId="2696"/>
        <pc:sldMkLst>
          <pc:docMk/>
          <pc:sldMk cId="1927698087" sldId="2147481515"/>
        </pc:sldMkLst>
      </pc:sldChg>
      <pc:sldChg chg="add mod ord modShow">
        <pc:chgData name="Jauhar, Mehar (A&amp;F)" userId="6b184fc0-f80d-46ab-a4ba-4a5755ad07a6" providerId="ADAL" clId="{B81E14FF-A61D-9B44-917F-5B3F9427202F}" dt="2025-02-07T17:48:48.888" v="1340" actId="729"/>
        <pc:sldMkLst>
          <pc:docMk/>
          <pc:sldMk cId="2520700039" sldId="2147481515"/>
        </pc:sldMkLst>
      </pc:sldChg>
      <pc:sldChg chg="del">
        <pc:chgData name="Jauhar, Mehar (A&amp;F)" userId="6b184fc0-f80d-46ab-a4ba-4a5755ad07a6" providerId="ADAL" clId="{B81E14FF-A61D-9B44-917F-5B3F9427202F}" dt="2025-02-07T17:27:47.766" v="1262" actId="2696"/>
        <pc:sldMkLst>
          <pc:docMk/>
          <pc:sldMk cId="1873434868" sldId="2147481521"/>
        </pc:sldMkLst>
      </pc:sldChg>
      <pc:sldChg chg="add addCm modCm">
        <pc:chgData name="Jauhar, Mehar (A&amp;F)" userId="6b184fc0-f80d-46ab-a4ba-4a5755ad07a6" providerId="ADAL" clId="{B81E14FF-A61D-9B44-917F-5B3F9427202F}" dt="2025-02-07T17:49:19.946" v="1344"/>
        <pc:sldMkLst>
          <pc:docMk/>
          <pc:sldMk cId="746616314" sldId="214748152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07T17:49:19.946" v="1344"/>
              <pc2:cmMkLst xmlns:pc2="http://schemas.microsoft.com/office/powerpoint/2019/9/main/command">
                <pc:docMk/>
                <pc:sldMk cId="746616314" sldId="2147481523"/>
                <pc2:cmMk id="{F54EDDA4-D70B-AE4C-82B3-753A8E49F652}"/>
              </pc2:cmMkLst>
              <pc226:cmRplyChg chg="add">
                <pc226:chgData name="Jauhar, Mehar (A&amp;F)" userId="6b184fc0-f80d-46ab-a4ba-4a5755ad07a6" providerId="ADAL" clId="{B81E14FF-A61D-9B44-917F-5B3F9427202F}" dt="2025-02-07T17:49:19.946" v="1344"/>
                <pc2:cmRplyMkLst xmlns:pc2="http://schemas.microsoft.com/office/powerpoint/2019/9/main/command">
                  <pc:docMk/>
                  <pc:sldMk cId="746616314" sldId="2147481523"/>
                  <pc2:cmMk id="{F54EDDA4-D70B-AE4C-82B3-753A8E49F652}"/>
                  <pc2:cmRplyMk id="{6A054CDD-6152-F34E-AB52-676FBF89CB7C}"/>
                </pc2:cmRplyMkLst>
              </pc226:cmRplyChg>
            </pc226:cmChg>
          </p:ext>
        </pc:extLst>
      </pc:sldChg>
      <pc:sldChg chg="del">
        <pc:chgData name="Jauhar, Mehar (A&amp;F)" userId="6b184fc0-f80d-46ab-a4ba-4a5755ad07a6" providerId="ADAL" clId="{B81E14FF-A61D-9B44-917F-5B3F9427202F}" dt="2025-02-07T17:27:27.300" v="1256" actId="2696"/>
        <pc:sldMkLst>
          <pc:docMk/>
          <pc:sldMk cId="3607985382" sldId="2147481523"/>
        </pc:sldMkLst>
      </pc:sldChg>
      <pc:sldChg chg="del">
        <pc:chgData name="Jauhar, Mehar (A&amp;F)" userId="6b184fc0-f80d-46ab-a4ba-4a5755ad07a6" providerId="ADAL" clId="{B81E14FF-A61D-9B44-917F-5B3F9427202F}" dt="2025-02-07T17:27:49.530" v="1263" actId="2696"/>
        <pc:sldMkLst>
          <pc:docMk/>
          <pc:sldMk cId="455469344" sldId="2147481524"/>
        </pc:sldMkLst>
      </pc:sldChg>
      <pc:sldChg chg="del">
        <pc:chgData name="Jauhar, Mehar (A&amp;F)" userId="6b184fc0-f80d-46ab-a4ba-4a5755ad07a6" providerId="ADAL" clId="{B81E14FF-A61D-9B44-917F-5B3F9427202F}" dt="2025-02-06T23:17:10.537" v="265" actId="2696"/>
        <pc:sldMkLst>
          <pc:docMk/>
          <pc:sldMk cId="2793068530" sldId="2147481525"/>
        </pc:sldMkLst>
      </pc:sldChg>
      <pc:sldChg chg="del">
        <pc:chgData name="Jauhar, Mehar (A&amp;F)" userId="6b184fc0-f80d-46ab-a4ba-4a5755ad07a6" providerId="ADAL" clId="{B81E14FF-A61D-9B44-917F-5B3F9427202F}" dt="2025-02-06T23:13:50.283" v="85" actId="2696"/>
        <pc:sldMkLst>
          <pc:docMk/>
          <pc:sldMk cId="700935998" sldId="2147481526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23705109" sldId="2147481527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1057958741" sldId="2147481527"/>
        </pc:sldMkLst>
      </pc:sldChg>
      <pc:sldChg chg="modSp add mod">
        <pc:chgData name="Jauhar, Mehar (A&amp;F)" userId="6b184fc0-f80d-46ab-a4ba-4a5755ad07a6" providerId="ADAL" clId="{B81E14FF-A61D-9B44-917F-5B3F9427202F}" dt="2025-02-07T21:12:28.176" v="2697" actId="20577"/>
        <pc:sldMkLst>
          <pc:docMk/>
          <pc:sldMk cId="1721034712" sldId="2147481527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097718036" sldId="2147481527"/>
        </pc:sldMkLst>
      </pc:sldChg>
      <pc:sldChg chg="del">
        <pc:chgData name="Jauhar, Mehar (A&amp;F)" userId="6b184fc0-f80d-46ab-a4ba-4a5755ad07a6" providerId="ADAL" clId="{B81E14FF-A61D-9B44-917F-5B3F9427202F}" dt="2025-02-07T17:28:01.138" v="1264" actId="2696"/>
        <pc:sldMkLst>
          <pc:docMk/>
          <pc:sldMk cId="4059754975" sldId="2147481528"/>
        </pc:sldMkLst>
      </pc:sldChg>
      <pc:sldChg chg="add del">
        <pc:chgData name="Jauhar, Mehar (A&amp;F)" userId="6b184fc0-f80d-46ab-a4ba-4a5755ad07a6" providerId="ADAL" clId="{B81E14FF-A61D-9B44-917F-5B3F9427202F}" dt="2025-02-07T17:27:41.286" v="1259" actId="2696"/>
        <pc:sldMkLst>
          <pc:docMk/>
          <pc:sldMk cId="412005679" sldId="2147481529"/>
        </pc:sldMkLst>
      </pc:sldChg>
      <pc:sldChg chg="del">
        <pc:chgData name="Jauhar, Mehar (A&amp;F)" userId="6b184fc0-f80d-46ab-a4ba-4a5755ad07a6" providerId="ADAL" clId="{B81E14FF-A61D-9B44-917F-5B3F9427202F}" dt="2025-02-06T23:17:09.647" v="263" actId="2696"/>
        <pc:sldMkLst>
          <pc:docMk/>
          <pc:sldMk cId="3703931231" sldId="2147481530"/>
        </pc:sldMkLst>
      </pc:sldChg>
      <pc:sldChg chg="addSp delSp modSp mod">
        <pc:chgData name="Jauhar, Mehar (A&amp;F)" userId="6b184fc0-f80d-46ab-a4ba-4a5755ad07a6" providerId="ADAL" clId="{B81E14FF-A61D-9B44-917F-5B3F9427202F}" dt="2025-02-11T17:03:29.977" v="3300" actId="1076"/>
        <pc:sldMkLst>
          <pc:docMk/>
          <pc:sldMk cId="2934033854" sldId="2147481531"/>
        </pc:sldMkLst>
        <pc:spChg chg="mod">
          <ac:chgData name="Jauhar, Mehar (A&amp;F)" userId="6b184fc0-f80d-46ab-a4ba-4a5755ad07a6" providerId="ADAL" clId="{B81E14FF-A61D-9B44-917F-5B3F9427202F}" dt="2025-02-11T17:03:27.468" v="3299" actId="14100"/>
          <ac:spMkLst>
            <pc:docMk/>
            <pc:sldMk cId="2934033854" sldId="2147481531"/>
            <ac:spMk id="9" creationId="{3F5EDDBA-8D94-FEFE-2099-EC25227C992A}"/>
          </ac:spMkLst>
        </pc:spChg>
        <pc:picChg chg="add mod">
          <ac:chgData name="Jauhar, Mehar (A&amp;F)" userId="6b184fc0-f80d-46ab-a4ba-4a5755ad07a6" providerId="ADAL" clId="{B81E14FF-A61D-9B44-917F-5B3F9427202F}" dt="2025-02-11T17:03:29.977" v="3300" actId="1076"/>
          <ac:picMkLst>
            <pc:docMk/>
            <pc:sldMk cId="2934033854" sldId="2147481531"/>
            <ac:picMk id="6" creationId="{582481FE-B35C-47F1-BD27-496FB57B0C78}"/>
          </ac:picMkLst>
        </pc:picChg>
      </pc:sldChg>
      <pc:sldChg chg="del">
        <pc:chgData name="Jauhar, Mehar (A&amp;F)" userId="6b184fc0-f80d-46ab-a4ba-4a5755ad07a6" providerId="ADAL" clId="{B81E14FF-A61D-9B44-917F-5B3F9427202F}" dt="2025-02-07T17:27:43.730" v="1260" actId="2696"/>
        <pc:sldMkLst>
          <pc:docMk/>
          <pc:sldMk cId="2743765809" sldId="2147481532"/>
        </pc:sldMkLst>
      </pc:sldChg>
      <pc:sldChg chg="del">
        <pc:chgData name="Jauhar, Mehar (A&amp;F)" userId="6b184fc0-f80d-46ab-a4ba-4a5755ad07a6" providerId="ADAL" clId="{B81E14FF-A61D-9B44-917F-5B3F9427202F}" dt="2025-02-07T17:28:06.095" v="1266" actId="2696"/>
        <pc:sldMkLst>
          <pc:docMk/>
          <pc:sldMk cId="2769691452" sldId="2147481533"/>
        </pc:sldMkLst>
      </pc:sldChg>
      <pc:sldChg chg="del">
        <pc:chgData name="Jauhar, Mehar (A&amp;F)" userId="6b184fc0-f80d-46ab-a4ba-4a5755ad07a6" providerId="ADAL" clId="{B81E14FF-A61D-9B44-917F-5B3F9427202F}" dt="2025-02-07T17:27:37.496" v="1258" actId="2696"/>
        <pc:sldMkLst>
          <pc:docMk/>
          <pc:sldMk cId="3413798818" sldId="2147481534"/>
        </pc:sldMkLst>
      </pc:sldChg>
      <pc:sldChg chg="del">
        <pc:chgData name="Jauhar, Mehar (A&amp;F)" userId="6b184fc0-f80d-46ab-a4ba-4a5755ad07a6" providerId="ADAL" clId="{B81E14FF-A61D-9B44-917F-5B3F9427202F}" dt="2025-02-06T23:13:52.198" v="88" actId="2696"/>
        <pc:sldMkLst>
          <pc:docMk/>
          <pc:sldMk cId="570825826" sldId="2147481535"/>
        </pc:sldMkLst>
      </pc:sldChg>
      <pc:sldChg chg="addSp delSp add del mod ord setBg delDesignElem modShow">
        <pc:chgData name="Jauhar, Mehar (A&amp;F)" userId="6b184fc0-f80d-46ab-a4ba-4a5755ad07a6" providerId="ADAL" clId="{B81E14FF-A61D-9B44-917F-5B3F9427202F}" dt="2025-02-07T17:50:37.262" v="1353" actId="729"/>
        <pc:sldMkLst>
          <pc:docMk/>
          <pc:sldMk cId="1499155871" sldId="2147481536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693578734" sldId="2147481538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513646351" sldId="2147481538"/>
        </pc:sldMkLst>
      </pc:sldChg>
      <pc:sldChg chg="add">
        <pc:chgData name="Jauhar, Mehar (A&amp;F)" userId="6b184fc0-f80d-46ab-a4ba-4a5755ad07a6" providerId="ADAL" clId="{B81E14FF-A61D-9B44-917F-5B3F9427202F}" dt="2025-02-06T23:13:39.575" v="84"/>
        <pc:sldMkLst>
          <pc:docMk/>
          <pc:sldMk cId="1423385475" sldId="214748153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117682038" sldId="2147481539"/>
        </pc:sldMkLst>
      </pc:sldChg>
      <pc:sldChg chg="modSp add mod">
        <pc:chgData name="Jauhar, Mehar (A&amp;F)" userId="6b184fc0-f80d-46ab-a4ba-4a5755ad07a6" providerId="ADAL" clId="{B81E14FF-A61D-9B44-917F-5B3F9427202F}" dt="2025-02-06T23:21:38.806" v="426" actId="20577"/>
        <pc:sldMkLst>
          <pc:docMk/>
          <pc:sldMk cId="1363718648" sldId="2147481540"/>
        </pc:sldMkLst>
        <pc:spChg chg="mod">
          <ac:chgData name="Jauhar, Mehar (A&amp;F)" userId="6b184fc0-f80d-46ab-a4ba-4a5755ad07a6" providerId="ADAL" clId="{B81E14FF-A61D-9B44-917F-5B3F9427202F}" dt="2025-02-06T23:21:38.806" v="426" actId="20577"/>
          <ac:spMkLst>
            <pc:docMk/>
            <pc:sldMk cId="1363718648" sldId="2147481540"/>
            <ac:spMk id="9" creationId="{61B7AD68-2546-FA2F-A2F2-6C54E2284F2F}"/>
          </ac:spMkLst>
        </pc:spChg>
      </pc:sldChg>
      <pc:sldChg chg="addSp delSp add del setBg delDesignElem">
        <pc:chgData name="Jauhar, Mehar (A&amp;F)" userId="6b184fc0-f80d-46ab-a4ba-4a5755ad07a6" providerId="ADAL" clId="{B81E14FF-A61D-9B44-917F-5B3F9427202F}" dt="2025-02-06T23:13:37.397" v="83"/>
        <pc:sldMkLst>
          <pc:docMk/>
          <pc:sldMk cId="3732374620" sldId="2147481540"/>
        </pc:sldMkLst>
      </pc:sldChg>
      <pc:sldChg chg="modSp add del mod ord modNotesTx">
        <pc:chgData name="Jauhar, Mehar (A&amp;F)" userId="6b184fc0-f80d-46ab-a4ba-4a5755ad07a6" providerId="ADAL" clId="{B81E14FF-A61D-9B44-917F-5B3F9427202F}" dt="2025-02-07T16:47:20.474" v="647" actId="20578"/>
        <pc:sldMkLst>
          <pc:docMk/>
          <pc:sldMk cId="2733478352" sldId="2147481541"/>
        </pc:sldMkLst>
      </pc:sldChg>
      <pc:sldChg chg="modSp add mod ord">
        <pc:chgData name="Jauhar, Mehar (A&amp;F)" userId="6b184fc0-f80d-46ab-a4ba-4a5755ad07a6" providerId="ADAL" clId="{B81E14FF-A61D-9B44-917F-5B3F9427202F}" dt="2025-02-07T16:49:08.107" v="688" actId="13926"/>
        <pc:sldMkLst>
          <pc:docMk/>
          <pc:sldMk cId="719758237" sldId="2147481542"/>
        </pc:sldMkLst>
      </pc:sldChg>
      <pc:sldChg chg="modSp add mod ord modCm">
        <pc:chgData name="Jauhar, Mehar (A&amp;F)" userId="6b184fc0-f80d-46ab-a4ba-4a5755ad07a6" providerId="ADAL" clId="{B81E14FF-A61D-9B44-917F-5B3F9427202F}" dt="2025-02-11T00:40:44.155" v="3280"/>
        <pc:sldMkLst>
          <pc:docMk/>
          <pc:sldMk cId="3279986888" sldId="2147481543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11T00:40:44.155" v="3280"/>
              <pc2:cmMkLst xmlns:pc2="http://schemas.microsoft.com/office/powerpoint/2019/9/main/command">
                <pc:docMk/>
                <pc:sldMk cId="3279986888" sldId="2147481543"/>
                <pc2:cmMk id="{DE2F2DBB-9619-44ED-8960-EE2B5EBB28EB}"/>
              </pc2:cmMkLst>
              <pc226:cmRplyChg chg="add">
                <pc226:chgData name="Jauhar, Mehar (A&amp;F)" userId="6b184fc0-f80d-46ab-a4ba-4a5755ad07a6" providerId="ADAL" clId="{B81E14FF-A61D-9B44-917F-5B3F9427202F}" dt="2025-02-11T00:40:44.155" v="3280"/>
                <pc2:cmRplyMkLst xmlns:pc2="http://schemas.microsoft.com/office/powerpoint/2019/9/main/command">
                  <pc:docMk/>
                  <pc:sldMk cId="3279986888" sldId="2147481543"/>
                  <pc2:cmMk id="{DE2F2DBB-9619-44ED-8960-EE2B5EBB28EB}"/>
                  <pc2:cmRplyMk id="{8AE9D8DA-EBC0-B14B-9676-845D443A69AE}"/>
                </pc2:cmRplyMkLst>
              </pc226:cmRplyChg>
            </pc226:cmChg>
          </p:ext>
        </pc:extLst>
      </pc:sldChg>
      <pc:sldChg chg="addSp delSp modSp add mod">
        <pc:chgData name="Jauhar, Mehar (A&amp;F)" userId="6b184fc0-f80d-46ab-a4ba-4a5755ad07a6" providerId="ADAL" clId="{B81E14FF-A61D-9B44-917F-5B3F9427202F}" dt="2025-02-07T21:53:40.096" v="3163" actId="1076"/>
        <pc:sldMkLst>
          <pc:docMk/>
          <pc:sldMk cId="1703071084" sldId="2147481544"/>
        </pc:sldMkLst>
      </pc:sldChg>
      <pc:sldChg chg="modSp add del mod">
        <pc:chgData name="Jauhar, Mehar (A&amp;F)" userId="6b184fc0-f80d-46ab-a4ba-4a5755ad07a6" providerId="ADAL" clId="{B81E14FF-A61D-9B44-917F-5B3F9427202F}" dt="2025-02-11T00:36:18.900" v="3277" actId="2696"/>
        <pc:sldMkLst>
          <pc:docMk/>
          <pc:sldMk cId="46369682" sldId="2147481545"/>
        </pc:sldMkLst>
      </pc:sldChg>
      <pc:sldChg chg="addSp delSp modSp add del mod setBg">
        <pc:chgData name="Jauhar, Mehar (A&amp;F)" userId="6b184fc0-f80d-46ab-a4ba-4a5755ad07a6" providerId="ADAL" clId="{B81E14FF-A61D-9B44-917F-5B3F9427202F}" dt="2025-02-07T18:10:16.354" v="2208" actId="2696"/>
        <pc:sldMkLst>
          <pc:docMk/>
          <pc:sldMk cId="2946511549" sldId="2147481546"/>
        </pc:sldMkLst>
      </pc:sldChg>
      <pc:sldChg chg="modSp add del mod">
        <pc:chgData name="Jauhar, Mehar (A&amp;F)" userId="6b184fc0-f80d-46ab-a4ba-4a5755ad07a6" providerId="ADAL" clId="{B81E14FF-A61D-9B44-917F-5B3F9427202F}" dt="2025-02-11T16:55:17.540" v="3289" actId="2696"/>
        <pc:sldMkLst>
          <pc:docMk/>
          <pc:sldMk cId="274479942" sldId="2147481547"/>
        </pc:sldMkLst>
      </pc:sldChg>
      <pc:sldChg chg="add del">
        <pc:chgData name="Jauhar, Mehar (A&amp;F)" userId="6b184fc0-f80d-46ab-a4ba-4a5755ad07a6" providerId="ADAL" clId="{B81E14FF-A61D-9B44-917F-5B3F9427202F}" dt="2025-02-06T23:21:44.894" v="428"/>
        <pc:sldMkLst>
          <pc:docMk/>
          <pc:sldMk cId="2261579265" sldId="2147481548"/>
        </pc:sldMkLst>
      </pc:sldChg>
      <pc:sldChg chg="addSp delSp modSp add del mod">
        <pc:chgData name="Jauhar, Mehar (A&amp;F)" userId="6b184fc0-f80d-46ab-a4ba-4a5755ad07a6" providerId="ADAL" clId="{B81E14FF-A61D-9B44-917F-5B3F9427202F}" dt="2025-02-07T17:24:27.676" v="1236" actId="2696"/>
        <pc:sldMkLst>
          <pc:docMk/>
          <pc:sldMk cId="2518039734" sldId="2147481548"/>
        </pc:sldMkLst>
      </pc:sldChg>
      <pc:sldChg chg="modSp add del mod">
        <pc:chgData name="Jauhar, Mehar (A&amp;F)" userId="6b184fc0-f80d-46ab-a4ba-4a5755ad07a6" providerId="ADAL" clId="{B81E14FF-A61D-9B44-917F-5B3F9427202F}" dt="2025-02-07T17:10:52.693" v="769" actId="2696"/>
        <pc:sldMkLst>
          <pc:docMk/>
          <pc:sldMk cId="1226949783" sldId="2147481549"/>
        </pc:sldMkLst>
      </pc:sldChg>
      <pc:sldChg chg="addSp delSp modSp add mod delCm modCm">
        <pc:chgData name="Jauhar, Mehar (A&amp;F)" userId="6b184fc0-f80d-46ab-a4ba-4a5755ad07a6" providerId="ADAL" clId="{B81E14FF-A61D-9B44-917F-5B3F9427202F}" dt="2025-02-11T15:51:22.300" v="3287" actId="20577"/>
        <pc:sldMkLst>
          <pc:docMk/>
          <pc:sldMk cId="2126720455" sldId="2147481550"/>
        </pc:sldMkLst>
        <pc:spChg chg="mod">
          <ac:chgData name="Jauhar, Mehar (A&amp;F)" userId="6b184fc0-f80d-46ab-a4ba-4a5755ad07a6" providerId="ADAL" clId="{B81E14FF-A61D-9B44-917F-5B3F9427202F}" dt="2025-02-07T17:14:42.676" v="945"/>
          <ac:spMkLst>
            <pc:docMk/>
            <pc:sldMk cId="2126720455" sldId="2147481550"/>
            <ac:spMk id="9" creationId="{61B7AD68-2546-FA2F-A2F2-6C54E2284F2F}"/>
          </ac:spMkLst>
        </pc:spChg>
        <pc:spChg chg="mod">
          <ac:chgData name="Jauhar, Mehar (A&amp;F)" userId="6b184fc0-f80d-46ab-a4ba-4a5755ad07a6" providerId="ADAL" clId="{B81E14FF-A61D-9B44-917F-5B3F9427202F}" dt="2025-02-11T15:51:22.300" v="3287" actId="20577"/>
          <ac:spMkLst>
            <pc:docMk/>
            <pc:sldMk cId="2126720455" sldId="2147481550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Jauhar, Mehar (A&amp;F)" userId="6b184fc0-f80d-46ab-a4ba-4a5755ad07a6" providerId="ADAL" clId="{B81E14FF-A61D-9B44-917F-5B3F9427202F}" dt="2025-02-07T17:15:07.690" v="952"/>
              <pc2:cmMkLst xmlns:pc2="http://schemas.microsoft.com/office/powerpoint/2019/9/main/command">
                <pc:docMk/>
                <pc:sldMk cId="2126720455" sldId="2147481550"/>
                <pc2:cmMk id="{4AA04CBB-910B-E54C-B623-D725F7B24A91}"/>
              </pc2:cmMkLst>
            </pc226:cmChg>
          </p:ext>
        </pc:extLst>
      </pc:sldChg>
      <pc:sldChg chg="addSp delSp modSp add del mod">
        <pc:chgData name="Jauhar, Mehar (A&amp;F)" userId="6b184fc0-f80d-46ab-a4ba-4a5755ad07a6" providerId="ADAL" clId="{B81E14FF-A61D-9B44-917F-5B3F9427202F}" dt="2025-02-07T16:49:23.552" v="690" actId="2696"/>
        <pc:sldMkLst>
          <pc:docMk/>
          <pc:sldMk cId="941841388" sldId="2147483466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5.022" v="691" actId="2696"/>
        <pc:sldMkLst>
          <pc:docMk/>
          <pc:sldMk cId="1718335038" sldId="2147483467"/>
        </pc:sldMkLst>
      </pc:sldChg>
      <pc:sldChg chg="addSp modSp add mod">
        <pc:chgData name="Jauhar, Mehar (A&amp;F)" userId="6b184fc0-f80d-46ab-a4ba-4a5755ad07a6" providerId="ADAL" clId="{B81E14FF-A61D-9B44-917F-5B3F9427202F}" dt="2025-02-07T17:45:23.024" v="1324" actId="1076"/>
        <pc:sldMkLst>
          <pc:docMk/>
          <pc:sldMk cId="2353380868" sldId="2147483468"/>
        </pc:sldMkLst>
      </pc:sldChg>
      <pc:sldChg chg="addSp delSp modSp add del mod">
        <pc:chgData name="Jauhar, Mehar (A&amp;F)" userId="6b184fc0-f80d-46ab-a4ba-4a5755ad07a6" providerId="ADAL" clId="{B81E14FF-A61D-9B44-917F-5B3F9427202F}" dt="2025-02-07T16:49:26.616" v="692" actId="2696"/>
        <pc:sldMkLst>
          <pc:docMk/>
          <pc:sldMk cId="2632304950" sldId="2147483468"/>
        </pc:sldMkLst>
      </pc:sldChg>
      <pc:sldChg chg="add">
        <pc:chgData name="Jauhar, Mehar (A&amp;F)" userId="6b184fc0-f80d-46ab-a4ba-4a5755ad07a6" providerId="ADAL" clId="{B81E14FF-A61D-9B44-917F-5B3F9427202F}" dt="2025-02-07T17:22:20.459" v="1177"/>
        <pc:sldMkLst>
          <pc:docMk/>
          <pc:sldMk cId="2936321618" sldId="2147483469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4:05.405" v="1235"/>
        <pc:sldMkLst>
          <pc:docMk/>
          <pc:sldMk cId="1751393933" sldId="2147483470"/>
        </pc:sldMkLst>
        <pc:spChg chg="add del">
          <ac:chgData name="Jauhar, Mehar (A&amp;F)" userId="6b184fc0-f80d-46ab-a4ba-4a5755ad07a6" providerId="ADAL" clId="{B81E14FF-A61D-9B44-917F-5B3F9427202F}" dt="2025-02-07T17:24:02.770" v="1234"/>
          <ac:spMkLst>
            <pc:docMk/>
            <pc:sldMk cId="1751393933" sldId="2147483470"/>
            <ac:spMk id="8" creationId="{CE95D99A-3234-9FAF-1BAD-C731E6C2BE29}"/>
          </ac:spMkLst>
        </pc:spChg>
        <pc:spChg chg="add del">
          <ac:chgData name="Jauhar, Mehar (A&amp;F)" userId="6b184fc0-f80d-46ab-a4ba-4a5755ad07a6" providerId="ADAL" clId="{B81E14FF-A61D-9B44-917F-5B3F9427202F}" dt="2025-02-07T17:24:02.770" v="1234"/>
          <ac:spMkLst>
            <pc:docMk/>
            <pc:sldMk cId="1751393933" sldId="2147483470"/>
            <ac:spMk id="10" creationId="{1E4327BE-8FF2-8C61-9172-6C2A3A35C4D1}"/>
          </ac:spMkLst>
        </pc:spChg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702503550" sldId="2147483471"/>
        </pc:sldMkLst>
      </pc:sldChg>
      <pc:sldChg chg="addSp delSp add del setBg delDesignElem">
        <pc:chgData name="Jauhar, Mehar (A&amp;F)" userId="6b184fc0-f80d-46ab-a4ba-4a5755ad07a6" providerId="ADAL" clId="{B81E14FF-A61D-9B44-917F-5B3F9427202F}" dt="2025-02-07T17:25:03.977" v="1241"/>
        <pc:sldMkLst>
          <pc:docMk/>
          <pc:sldMk cId="1057068823" sldId="2147483471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1320583230" sldId="2147483471"/>
        </pc:sldMkLst>
      </pc:sldChg>
      <pc:sldChg chg="add del">
        <pc:chgData name="Jauhar, Mehar (A&amp;F)" userId="6b184fc0-f80d-46ab-a4ba-4a5755ad07a6" providerId="ADAL" clId="{B81E14FF-A61D-9B44-917F-5B3F9427202F}" dt="2025-02-07T17:25:34.317" v="1248" actId="2696"/>
        <pc:sldMkLst>
          <pc:docMk/>
          <pc:sldMk cId="1576051517" sldId="2147483471"/>
        </pc:sldMkLst>
      </pc:sldChg>
      <pc:sldChg chg="add mod modShow">
        <pc:chgData name="Jauhar, Mehar (A&amp;F)" userId="6b184fc0-f80d-46ab-a4ba-4a5755ad07a6" providerId="ADAL" clId="{B81E14FF-A61D-9B44-917F-5B3F9427202F}" dt="2025-02-07T17:48:57.704" v="1343" actId="729"/>
        <pc:sldMkLst>
          <pc:docMk/>
          <pc:sldMk cId="2321386079" sldId="2147483471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831898522" sldId="2147483471"/>
        </pc:sldMkLst>
      </pc:sldChg>
      <pc:sldChg chg="modSp add mod">
        <pc:chgData name="Jauhar, Mehar (A&amp;F)" userId="6b184fc0-f80d-46ab-a4ba-4a5755ad07a6" providerId="ADAL" clId="{B81E14FF-A61D-9B44-917F-5B3F9427202F}" dt="2025-02-07T21:11:47.985" v="2685" actId="20577"/>
        <pc:sldMkLst>
          <pc:docMk/>
          <pc:sldMk cId="866654257" sldId="2147483472"/>
        </pc:sldMk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2528246415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675215970" sldId="2147483472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102759306" sldId="2147483472"/>
        </pc:sldMkLst>
      </pc:sldChg>
      <pc:sldChg chg="add del">
        <pc:chgData name="Jauhar, Mehar (A&amp;F)" userId="6b184fc0-f80d-46ab-a4ba-4a5755ad07a6" providerId="ADAL" clId="{B81E14FF-A61D-9B44-917F-5B3F9427202F}" dt="2025-02-07T17:25:01.049" v="1238"/>
        <pc:sldMkLst>
          <pc:docMk/>
          <pc:sldMk cId="3310871067" sldId="2147483472"/>
        </pc:sldMkLst>
      </pc:sldChg>
      <pc:sldChg chg="add del setBg">
        <pc:chgData name="Jauhar, Mehar (A&amp;F)" userId="6b184fc0-f80d-46ab-a4ba-4a5755ad07a6" providerId="ADAL" clId="{B81E14FF-A61D-9B44-917F-5B3F9427202F}" dt="2025-02-07T17:25:03.977" v="1241"/>
        <pc:sldMkLst>
          <pc:docMk/>
          <pc:sldMk cId="2596761292" sldId="2147483477"/>
        </pc:sldMkLst>
      </pc:sldChg>
      <pc:sldChg chg="add del">
        <pc:chgData name="Jauhar, Mehar (A&amp;F)" userId="6b184fc0-f80d-46ab-a4ba-4a5755ad07a6" providerId="ADAL" clId="{B81E14FF-A61D-9B44-917F-5B3F9427202F}" dt="2025-02-07T17:25:12.391" v="1243"/>
        <pc:sldMkLst>
          <pc:docMk/>
          <pc:sldMk cId="3371768604" sldId="2147483477"/>
        </pc:sldMkLst>
      </pc:sldChg>
      <pc:sldChg chg="addSp delSp modSp add mod modCm">
        <pc:chgData name="Jauhar, Mehar (A&amp;F)" userId="6b184fc0-f80d-46ab-a4ba-4a5755ad07a6" providerId="ADAL" clId="{B81E14FF-A61D-9B44-917F-5B3F9427202F}" dt="2025-02-07T21:17:07.326" v="2853"/>
        <pc:sldMkLst>
          <pc:docMk/>
          <pc:sldMk cId="3379675862" sldId="214748347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07.326" v="2853"/>
              <pc2:cmMkLst xmlns:pc2="http://schemas.microsoft.com/office/powerpoint/2019/9/main/command">
                <pc:docMk/>
                <pc:sldMk cId="3379675862" sldId="2147483477"/>
                <pc2:cmMk id="{DE0172FE-A3B1-4C32-9947-A5082A6C358C}"/>
              </pc2:cmMkLst>
              <pc226:cmRplyChg chg="add">
                <pc226:chgData name="Jauhar, Mehar (A&amp;F)" userId="6b184fc0-f80d-46ab-a4ba-4a5755ad07a6" providerId="ADAL" clId="{B81E14FF-A61D-9B44-917F-5B3F9427202F}" dt="2025-02-07T21:17:07.326" v="2853"/>
                <pc2:cmRplyMkLst xmlns:pc2="http://schemas.microsoft.com/office/powerpoint/2019/9/main/command">
                  <pc:docMk/>
                  <pc:sldMk cId="3379675862" sldId="2147483477"/>
                  <pc2:cmMk id="{DE0172FE-A3B1-4C32-9947-A5082A6C358C}"/>
                  <pc2:cmRplyMk id="{3484CED7-64BB-CE4B-87A8-32B24428E1F9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07T17:25:21.931" v="1245"/>
        <pc:sldMkLst>
          <pc:docMk/>
          <pc:sldMk cId="3542442027" sldId="2147483477"/>
        </pc:sldMkLst>
      </pc:sldChg>
      <pc:sldChg chg="modSp add mod">
        <pc:chgData name="Jauhar, Mehar (A&amp;F)" userId="6b184fc0-f80d-46ab-a4ba-4a5755ad07a6" providerId="ADAL" clId="{B81E14FF-A61D-9B44-917F-5B3F9427202F}" dt="2025-02-07T17:25:39.131" v="1249" actId="13926"/>
        <pc:sldMkLst>
          <pc:docMk/>
          <pc:sldMk cId="2732401005" sldId="2147483478"/>
        </pc:sldMkLst>
      </pc:sldChg>
      <pc:sldChg chg="add mod ord modShow">
        <pc:chgData name="Jauhar, Mehar (A&amp;F)" userId="6b184fc0-f80d-46ab-a4ba-4a5755ad07a6" providerId="ADAL" clId="{B81E14FF-A61D-9B44-917F-5B3F9427202F}" dt="2025-02-07T17:48:45.399" v="1339" actId="729"/>
        <pc:sldMkLst>
          <pc:docMk/>
          <pc:sldMk cId="1721683067" sldId="2147483479"/>
        </pc:sldMkLst>
      </pc:sldChg>
      <pc:sldChg chg="add del">
        <pc:chgData name="Jauhar, Mehar (A&amp;F)" userId="6b184fc0-f80d-46ab-a4ba-4a5755ad07a6" providerId="ADAL" clId="{B81E14FF-A61D-9B44-917F-5B3F9427202F}" dt="2025-02-07T17:26:40.149" v="1253"/>
        <pc:sldMkLst>
          <pc:docMk/>
          <pc:sldMk cId="2280511021" sldId="2147483479"/>
        </pc:sldMkLst>
      </pc:sldChg>
      <pc:sldChg chg="add mod modShow">
        <pc:chgData name="Jauhar, Mehar (A&amp;F)" userId="6b184fc0-f80d-46ab-a4ba-4a5755ad07a6" providerId="ADAL" clId="{B81E14FF-A61D-9B44-917F-5B3F9427202F}" dt="2025-02-07T17:48:37.555" v="1337" actId="729"/>
        <pc:sldMkLst>
          <pc:docMk/>
          <pc:sldMk cId="976800554" sldId="2147483480"/>
        </pc:sldMkLst>
      </pc:sldChg>
      <pc:sldChg chg="add mod modShow">
        <pc:chgData name="Jauhar, Mehar (A&amp;F)" userId="6b184fc0-f80d-46ab-a4ba-4a5755ad07a6" providerId="ADAL" clId="{B81E14FF-A61D-9B44-917F-5B3F9427202F}" dt="2025-02-07T17:48:55.353" v="1342" actId="729"/>
        <pc:sldMkLst>
          <pc:docMk/>
          <pc:sldMk cId="1962231768" sldId="2147483481"/>
        </pc:sldMkLst>
      </pc:sldChg>
      <pc:sldChg chg="add mod ord modShow">
        <pc:chgData name="Jauhar, Mehar (A&amp;F)" userId="6b184fc0-f80d-46ab-a4ba-4a5755ad07a6" providerId="ADAL" clId="{B81E14FF-A61D-9B44-917F-5B3F9427202F}" dt="2025-02-07T17:48:42.133" v="1338" actId="729"/>
        <pc:sldMkLst>
          <pc:docMk/>
          <pc:sldMk cId="2185845481" sldId="2147483482"/>
        </pc:sldMkLst>
      </pc:sldChg>
      <pc:sldChg chg="add mod modShow">
        <pc:chgData name="Jauhar, Mehar (A&amp;F)" userId="6b184fc0-f80d-46ab-a4ba-4a5755ad07a6" providerId="ADAL" clId="{B81E14FF-A61D-9B44-917F-5B3F9427202F}" dt="2025-02-07T17:48:51.937" v="1341" actId="729"/>
        <pc:sldMkLst>
          <pc:docMk/>
          <pc:sldMk cId="2801004244" sldId="2147483483"/>
        </pc:sldMkLst>
      </pc:sldChg>
      <pc:sldChg chg="add mod modShow">
        <pc:chgData name="Jauhar, Mehar (A&amp;F)" userId="6b184fc0-f80d-46ab-a4ba-4a5755ad07a6" providerId="ADAL" clId="{B81E14FF-A61D-9B44-917F-5B3F9427202F}" dt="2025-02-07T17:51:27.231" v="1356" actId="729"/>
        <pc:sldMkLst>
          <pc:docMk/>
          <pc:sldMk cId="4205499045" sldId="2147483484"/>
        </pc:sldMkLst>
      </pc:sldChg>
      <pc:sldChg chg="add mod modShow">
        <pc:chgData name="Jauhar, Mehar (A&amp;F)" userId="6b184fc0-f80d-46ab-a4ba-4a5755ad07a6" providerId="ADAL" clId="{B81E14FF-A61D-9B44-917F-5B3F9427202F}" dt="2025-02-07T17:51:29.616" v="1357" actId="729"/>
        <pc:sldMkLst>
          <pc:docMk/>
          <pc:sldMk cId="1192983217" sldId="2147483485"/>
        </pc:sldMkLst>
      </pc:sldChg>
      <pc:sldChg chg="addSp delSp modSp new mod addCm modCm">
        <pc:chgData name="Jauhar, Mehar (A&amp;F)" userId="6b184fc0-f80d-46ab-a4ba-4a5755ad07a6" providerId="ADAL" clId="{B81E14FF-A61D-9B44-917F-5B3F9427202F}" dt="2025-02-10T20:34:50.101" v="3271" actId="20577"/>
        <pc:sldMkLst>
          <pc:docMk/>
          <pc:sldMk cId="1741467460" sldId="2147483486"/>
        </pc:sldMkLst>
        <pc:spChg chg="add mod">
          <ac:chgData name="Jauhar, Mehar (A&amp;F)" userId="6b184fc0-f80d-46ab-a4ba-4a5755ad07a6" providerId="ADAL" clId="{B81E14FF-A61D-9B44-917F-5B3F9427202F}" dt="2025-02-10T20:34:50.101" v="3271" actId="20577"/>
          <ac:spMkLst>
            <pc:docMk/>
            <pc:sldMk cId="1741467460" sldId="2147483486"/>
            <ac:spMk id="6" creationId="{9F3788A7-E47C-B5CE-4257-1F649836DE48}"/>
          </ac:spMkLst>
        </pc:spChg>
        <pc:spChg chg="add mod">
          <ac:chgData name="Jauhar, Mehar (A&amp;F)" userId="6b184fc0-f80d-46ab-a4ba-4a5755ad07a6" providerId="ADAL" clId="{B81E14FF-A61D-9B44-917F-5B3F9427202F}" dt="2025-02-07T18:15:53.524" v="2307" actId="207"/>
          <ac:spMkLst>
            <pc:docMk/>
            <pc:sldMk cId="1741467460" sldId="2147483486"/>
            <ac:spMk id="7" creationId="{134FC3F4-DAD6-738E-34C0-657016163671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12" creationId="{D985F677-A1F9-8F44-9A05-DCDFD636795C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23" creationId="{CE3408A6-3D3D-C3C8-66DB-717F76F266B6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25" creationId="{DA8E3E83-0A13-9A08-9C7A-0BF7CF41FAD1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27" creationId="{898DE8B0-12D1-D134-F268-16B7F60CA029}"/>
          </ac:spMkLst>
        </pc:spChg>
        <pc:spChg chg="add mod">
          <ac:chgData name="Jauhar, Mehar (A&amp;F)" userId="6b184fc0-f80d-46ab-a4ba-4a5755ad07a6" providerId="ADAL" clId="{B81E14FF-A61D-9B44-917F-5B3F9427202F}" dt="2025-02-07T18:15:47.303" v="2306" actId="207"/>
          <ac:spMkLst>
            <pc:docMk/>
            <pc:sldMk cId="1741467460" sldId="2147483486"/>
            <ac:spMk id="32" creationId="{2DFFF345-756C-4593-9810-3C232BD81C18}"/>
          </ac:spMkLst>
        </pc:spChg>
        <pc:picChg chg="add del mod">
          <ac:chgData name="Jauhar, Mehar (A&amp;F)" userId="6b184fc0-f80d-46ab-a4ba-4a5755ad07a6" providerId="ADAL" clId="{B81E14FF-A61D-9B44-917F-5B3F9427202F}" dt="2025-02-07T18:14:10.600" v="2303" actId="1038"/>
          <ac:picMkLst>
            <pc:docMk/>
            <pc:sldMk cId="1741467460" sldId="2147483486"/>
            <ac:picMk id="8" creationId="{CCCCF25A-2A8A-9F0F-E7CE-C6B19E671366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24" creationId="{0E40C948-516B-5A96-CB45-4B1E514CCCBC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26" creationId="{A5C7F27F-8EF8-15BC-BBCB-A51046B07BD4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31" creationId="{10C83EFA-B11F-A834-4FB7-1ECFBA9C5ED2}"/>
          </ac:picMkLst>
        </pc:picChg>
        <pc:picChg chg="add mod">
          <ac:chgData name="Jauhar, Mehar (A&amp;F)" userId="6b184fc0-f80d-46ab-a4ba-4a5755ad07a6" providerId="ADAL" clId="{B81E14FF-A61D-9B44-917F-5B3F9427202F}" dt="2025-02-07T18:13:58.768" v="2292" actId="1037"/>
          <ac:picMkLst>
            <pc:docMk/>
            <pc:sldMk cId="1741467460" sldId="2147483486"/>
            <ac:picMk id="34" creationId="{C1EC7EFC-965B-494A-88A8-0DE8164968DC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Jauhar, Mehar (A&amp;F)" userId="6b184fc0-f80d-46ab-a4ba-4a5755ad07a6" providerId="ADAL" clId="{B81E14FF-A61D-9B44-917F-5B3F9427202F}" dt="2025-02-07T18:18:46.454" v="2309"/>
              <pc2:cmMkLst xmlns:pc2="http://schemas.microsoft.com/office/powerpoint/2019/9/main/command">
                <pc:docMk/>
                <pc:sldMk cId="1741467460" sldId="2147483486"/>
                <pc2:cmMk id="{8EE5D94C-8537-6C4D-84C3-FCC854C67B53}"/>
              </pc2:cmMkLst>
            </pc226:cmChg>
            <pc226:cmChg xmlns:pc226="http://schemas.microsoft.com/office/powerpoint/2022/06/main/command" chg="add mod">
              <pc226:chgData name="Jauhar, Mehar (A&amp;F)" userId="6b184fc0-f80d-46ab-a4ba-4a5755ad07a6" providerId="ADAL" clId="{B81E14FF-A61D-9B44-917F-5B3F9427202F}" dt="2025-02-10T20:34:50.101" v="3271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  <pc226:cmRplyChg chg="add">
                <pc226:chgData name="Jauhar, Mehar (A&amp;F)" userId="6b184fc0-f80d-46ab-a4ba-4a5755ad07a6" providerId="ADAL" clId="{B81E14FF-A61D-9B44-917F-5B3F9427202F}" dt="2025-02-07T18:15:39.473" v="2305"/>
                <pc2:cmRplyMkLst xmlns:pc2="http://schemas.microsoft.com/office/powerpoint/2019/9/main/command">
                  <pc:docMk/>
                  <pc:sldMk cId="1741467460" sldId="2147483486"/>
                  <pc2:cmMk id="{B53EFA4F-E9B3-3946-AFC0-E05CEFB9288B}"/>
                  <pc2:cmRplyMk id="{FEE178E5-3822-9743-824A-97FB59062D13}"/>
                </pc2:cmRplyMkLst>
              </pc226:cmRplyChg>
            </pc226:cmChg>
          </p:ext>
        </pc:extLst>
      </pc:sldChg>
      <pc:sldChg chg="modSp add mod modCm">
        <pc:chgData name="Jauhar, Mehar (A&amp;F)" userId="6b184fc0-f80d-46ab-a4ba-4a5755ad07a6" providerId="ADAL" clId="{B81E14FF-A61D-9B44-917F-5B3F9427202F}" dt="2025-02-07T21:17:17.794" v="2854"/>
        <pc:sldMkLst>
          <pc:docMk/>
          <pc:sldMk cId="3830842327" sldId="2147483487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Jauhar, Mehar (A&amp;F)" userId="6b184fc0-f80d-46ab-a4ba-4a5755ad07a6" providerId="ADAL" clId="{B81E14FF-A61D-9B44-917F-5B3F9427202F}" dt="2025-02-07T21:17:17.794" v="2854"/>
              <pc2:cmMkLst xmlns:pc2="http://schemas.microsoft.com/office/powerpoint/2019/9/main/command">
                <pc:docMk/>
                <pc:sldMk cId="3830842327" sldId="2147483487"/>
                <pc2:cmMk id="{D1136DEC-394B-E74E-ADF8-2FB113583835}"/>
              </pc2:cmMkLst>
              <pc226:cmRplyChg chg="add">
                <pc226:chgData name="Jauhar, Mehar (A&amp;F)" userId="6b184fc0-f80d-46ab-a4ba-4a5755ad07a6" providerId="ADAL" clId="{B81E14FF-A61D-9B44-917F-5B3F9427202F}" dt="2025-02-07T21:17:17.794" v="2854"/>
                <pc2:cmRplyMkLst xmlns:pc2="http://schemas.microsoft.com/office/powerpoint/2019/9/main/command">
                  <pc:docMk/>
                  <pc:sldMk cId="3830842327" sldId="2147483487"/>
                  <pc2:cmMk id="{D1136DEC-394B-E74E-ADF8-2FB113583835}"/>
                  <pc2:cmRplyMk id="{77EF9789-0CB0-C840-82B0-7AD76F208FAD}"/>
                </pc2:cmRplyMkLst>
              </pc226:cmRplyChg>
            </pc226:cmChg>
          </p:ext>
        </pc:ext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3781811713" sldId="2147483488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87881709" sldId="2147483489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43442826" sldId="2147483490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0" sldId="2147483491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2976025070" sldId="2147483492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1822034790" sldId="2147483493"/>
        </pc:sldMkLst>
      </pc:sldChg>
      <pc:sldChg chg="add del">
        <pc:chgData name="Jauhar, Mehar (A&amp;F)" userId="6b184fc0-f80d-46ab-a4ba-4a5755ad07a6" providerId="ADAL" clId="{B81E14FF-A61D-9B44-917F-5B3F9427202F}" dt="2025-02-11T00:36:12.528" v="3276"/>
        <pc:sldMkLst>
          <pc:docMk/>
          <pc:sldMk cId="4047586213" sldId="2147483494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0" sldId="2147483497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0" sldId="2147483498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0" sldId="2147483499"/>
        </pc:sldMkLst>
      </pc:sldChg>
      <pc:sldChg chg="add">
        <pc:chgData name="Jauhar, Mehar (A&amp;F)" userId="6b184fc0-f80d-46ab-a4ba-4a5755ad07a6" providerId="ADAL" clId="{B81E14FF-A61D-9B44-917F-5B3F9427202F}" dt="2025-02-11T16:55:15.236" v="3288"/>
        <pc:sldMkLst>
          <pc:docMk/>
          <pc:sldMk cId="0" sldId="2147483500"/>
        </pc:sldMkLst>
      </pc:sldChg>
    </pc:docChg>
  </pc:docChgLst>
  <pc:docChgLst>
    <pc:chgData name="Leonarte Paredes, Micaela (A&amp;F)" userId="9dd405bc-2413-4d02-bb30-9534b8884de8" providerId="ADAL" clId="{9EBDD695-6D63-49A3-9B04-63BA82DCEBD1}"/>
    <pc:docChg chg="undo custSel modSld">
      <pc:chgData name="Leonarte Paredes, Micaela (A&amp;F)" userId="9dd405bc-2413-4d02-bb30-9534b8884de8" providerId="ADAL" clId="{9EBDD695-6D63-49A3-9B04-63BA82DCEBD1}" dt="2025-02-26T17:24:33.901" v="10" actId="313"/>
      <pc:docMkLst>
        <pc:docMk/>
      </pc:docMkLst>
      <pc:sldChg chg="mod modShow">
        <pc:chgData name="Leonarte Paredes, Micaela (A&amp;F)" userId="9dd405bc-2413-4d02-bb30-9534b8884de8" providerId="ADAL" clId="{9EBDD695-6D63-49A3-9B04-63BA82DCEBD1}" dt="2025-02-07T18:19:36.781" v="0" actId="729"/>
        <pc:sldMkLst>
          <pc:docMk/>
          <pc:sldMk cId="746616314" sldId="2147481523"/>
        </pc:sldMkLst>
      </pc:sldChg>
      <pc:sldChg chg="modSp mod">
        <pc:chgData name="Leonarte Paredes, Micaela (A&amp;F)" userId="9dd405bc-2413-4d02-bb30-9534b8884de8" providerId="ADAL" clId="{9EBDD695-6D63-49A3-9B04-63BA82DCEBD1}" dt="2025-02-26T17:24:33.901" v="10" actId="313"/>
        <pc:sldMkLst>
          <pc:docMk/>
          <pc:sldMk cId="3379675862" sldId="2147483477"/>
        </pc:sldMkLst>
      </pc:sldChg>
      <pc:sldChg chg="modSp mod">
        <pc:chgData name="Leonarte Paredes, Micaela (A&amp;F)" userId="9dd405bc-2413-4d02-bb30-9534b8884de8" providerId="ADAL" clId="{9EBDD695-6D63-49A3-9B04-63BA82DCEBD1}" dt="2025-02-11T21:35:07.823" v="8" actId="2164"/>
        <pc:sldMkLst>
          <pc:docMk/>
          <pc:sldMk cId="3830842327" sldId="2147483487"/>
        </pc:sldMkLst>
      </pc:sldChg>
    </pc:docChg>
  </pc:docChgLst>
  <pc:docChgLst>
    <pc:chgData name="Jauhar, Mehar (A&amp;F)" userId="S::mehar.jauhar@mass.gov::6b184fc0-f80d-46ab-a4ba-4a5755ad07a6" providerId="AD" clId="Web-{0BF3E6C0-1D51-008A-9EE9-64782BF8B7F7}"/>
    <pc:docChg chg="mod">
      <pc:chgData name="Jauhar, Mehar (A&amp;F)" userId="S::mehar.jauhar@mass.gov::6b184fc0-f80d-46ab-a4ba-4a5755ad07a6" providerId="AD" clId="Web-{0BF3E6C0-1D51-008A-9EE9-64782BF8B7F7}" dt="2025-02-11T00:34:28.423" v="0"/>
      <pc:docMkLst>
        <pc:docMk/>
      </pc:docMkLst>
    </pc:docChg>
  </pc:docChgLst>
  <pc:docChgLst>
    <pc:chgData name="Jauhar, Mehar (A&amp;F)" userId="6b184fc0-f80d-46ab-a4ba-4a5755ad07a6" providerId="ADAL" clId="{398CA5F7-FA7C-4858-9495-CA4F842BAB50}"/>
    <pc:docChg chg="undo redo custSel addSld delSld modSld sldOrd delMainMaster">
      <pc:chgData name="Jauhar, Mehar (A&amp;F)" userId="6b184fc0-f80d-46ab-a4ba-4a5755ad07a6" providerId="ADAL" clId="{398CA5F7-FA7C-4858-9495-CA4F842BAB50}" dt="2025-04-08T20:26:50.143" v="1059" actId="20577"/>
      <pc:docMkLst>
        <pc:docMk/>
      </pc:docMkLst>
      <pc:sldChg chg="modSp mod">
        <pc:chgData name="Jauhar, Mehar (A&amp;F)" userId="6b184fc0-f80d-46ab-a4ba-4a5755ad07a6" providerId="ADAL" clId="{398CA5F7-FA7C-4858-9495-CA4F842BAB50}" dt="2025-04-08T17:08:20.548" v="31" actId="20577"/>
        <pc:sldMkLst>
          <pc:docMk/>
          <pc:sldMk cId="1706473524" sldId="256"/>
        </pc:sldMkLst>
        <pc:spChg chg="mod">
          <ac:chgData name="Jauhar, Mehar (A&amp;F)" userId="6b184fc0-f80d-46ab-a4ba-4a5755ad07a6" providerId="ADAL" clId="{398CA5F7-FA7C-4858-9495-CA4F842BAB50}" dt="2025-04-08T17:08:20.548" v="31" actId="20577"/>
          <ac:spMkLst>
            <pc:docMk/>
            <pc:sldMk cId="1706473524" sldId="256"/>
            <ac:spMk id="3" creationId="{6BF96C16-BDB2-15EE-4778-FA5D2DB3A873}"/>
          </ac:spMkLst>
        </pc:spChg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1603070670" sldId="258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867517518" sldId="258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319316017" sldId="26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971765453" sldId="26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964628541" sldId="264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4026100562" sldId="264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708320190" sldId="266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538954509" sldId="266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314330794" sldId="273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2905261175" sldId="273"/>
        </pc:sldMkLst>
      </pc:sldChg>
      <pc:sldChg chg="modSp mod">
        <pc:chgData name="Jauhar, Mehar (A&amp;F)" userId="6b184fc0-f80d-46ab-a4ba-4a5755ad07a6" providerId="ADAL" clId="{398CA5F7-FA7C-4858-9495-CA4F842BAB50}" dt="2025-04-08T18:04:26.165" v="638" actId="403"/>
        <pc:sldMkLst>
          <pc:docMk/>
          <pc:sldMk cId="2568010536" sldId="276"/>
        </pc:sldMkLst>
        <pc:graphicFrameChg chg="mod modGraphic">
          <ac:chgData name="Jauhar, Mehar (A&amp;F)" userId="6b184fc0-f80d-46ab-a4ba-4a5755ad07a6" providerId="ADAL" clId="{398CA5F7-FA7C-4858-9495-CA4F842BAB50}" dt="2025-04-08T18:04:26.165" v="638" actId="403"/>
          <ac:graphicFrameMkLst>
            <pc:docMk/>
            <pc:sldMk cId="2568010536" sldId="276"/>
            <ac:graphicFrameMk id="3" creationId="{049C94AF-0C06-CB3D-9E4E-9BB946594321}"/>
          </ac:graphicFrameMkLst>
        </pc:graphicFrameChg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68879501" sldId="277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331652569" sldId="277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81840332" sldId="280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116389720" sldId="280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2061762888" sldId="282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987823777" sldId="282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293007105" sldId="28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4043909393" sldId="283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481167386" sldId="284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564788197" sldId="284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611965834" sldId="289"/>
        </pc:sldMkLst>
      </pc:sldChg>
      <pc:sldChg chg="add del">
        <pc:chgData name="Jauhar, Mehar (A&amp;F)" userId="6b184fc0-f80d-46ab-a4ba-4a5755ad07a6" providerId="ADAL" clId="{398CA5F7-FA7C-4858-9495-CA4F842BAB50}" dt="2025-04-08T18:04:52.754" v="640"/>
        <pc:sldMkLst>
          <pc:docMk/>
          <pc:sldMk cId="3941707896" sldId="289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445422682" sldId="290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3739978763" sldId="290"/>
        </pc:sldMkLst>
      </pc:sldChg>
      <pc:sldChg chg="modSp mod modCm">
        <pc:chgData name="Jauhar, Mehar (A&amp;F)" userId="6b184fc0-f80d-46ab-a4ba-4a5755ad07a6" providerId="ADAL" clId="{398CA5F7-FA7C-4858-9495-CA4F842BAB50}" dt="2025-04-08T17:42:05.355" v="620" actId="20577"/>
        <pc:sldMkLst>
          <pc:docMk/>
          <pc:sldMk cId="1561720608" sldId="2147481257"/>
        </pc:sldMkLst>
        <pc:spChg chg="mod">
          <ac:chgData name="Jauhar, Mehar (A&amp;F)" userId="6b184fc0-f80d-46ab-a4ba-4a5755ad07a6" providerId="ADAL" clId="{398CA5F7-FA7C-4858-9495-CA4F842BAB50}" dt="2025-04-08T17:42:05.355" v="620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Jauhar, Mehar (A&amp;F)" userId="6b184fc0-f80d-46ab-a4ba-4a5755ad07a6" providerId="ADAL" clId="{398CA5F7-FA7C-4858-9495-CA4F842BAB50}" dt="2025-04-08T17:42:05.355" v="620" actId="20577"/>
              <pc2:cmMkLst xmlns:pc2="http://schemas.microsoft.com/office/powerpoint/2019/9/main/command">
                <pc:docMk/>
                <pc:sldMk cId="1561720608" sldId="2147481257"/>
                <pc2:cmMk id="{E140A5A1-D44F-4538-965D-7BEFBE90553A}"/>
              </pc2:cmMkLst>
            </pc226:cmChg>
          </p:ext>
        </pc:extLst>
      </pc:sldChg>
      <pc:sldChg chg="add del">
        <pc:chgData name="Jauhar, Mehar (A&amp;F)" userId="6b184fc0-f80d-46ab-a4ba-4a5755ad07a6" providerId="ADAL" clId="{398CA5F7-FA7C-4858-9495-CA4F842BAB50}" dt="2025-04-08T17:29:21.867" v="370"/>
        <pc:sldMkLst>
          <pc:docMk/>
          <pc:sldMk cId="349565886" sldId="2147481526"/>
        </pc:sldMkLst>
      </pc:sldChg>
      <pc:sldChg chg="del">
        <pc:chgData name="Jauhar, Mehar (A&amp;F)" userId="6b184fc0-f80d-46ab-a4ba-4a5755ad07a6" providerId="ADAL" clId="{398CA5F7-FA7C-4858-9495-CA4F842BAB50}" dt="2025-04-08T17:28:27.719" v="365" actId="47"/>
        <pc:sldMkLst>
          <pc:docMk/>
          <pc:sldMk cId="1721034712" sldId="2147481527"/>
        </pc:sldMkLst>
      </pc:sldChg>
      <pc:sldChg chg="add del ord">
        <pc:chgData name="Jauhar, Mehar (A&amp;F)" userId="6b184fc0-f80d-46ab-a4ba-4a5755ad07a6" providerId="ADAL" clId="{398CA5F7-FA7C-4858-9495-CA4F842BAB50}" dt="2025-04-08T17:35:19.517" v="436"/>
        <pc:sldMkLst>
          <pc:docMk/>
          <pc:sldMk cId="2934033854" sldId="2147481531"/>
        </pc:sldMkLst>
      </pc:sldChg>
      <pc:sldChg chg="modSp del mod">
        <pc:chgData name="Jauhar, Mehar (A&amp;F)" userId="6b184fc0-f80d-46ab-a4ba-4a5755ad07a6" providerId="ADAL" clId="{398CA5F7-FA7C-4858-9495-CA4F842BAB50}" dt="2025-04-08T20:17:15.871" v="951" actId="47"/>
        <pc:sldMkLst>
          <pc:docMk/>
          <pc:sldMk cId="2733478352" sldId="2147481541"/>
        </pc:sldMkLst>
      </pc:sldChg>
      <pc:sldChg chg="delSp del mod">
        <pc:chgData name="Jauhar, Mehar (A&amp;F)" userId="6b184fc0-f80d-46ab-a4ba-4a5755ad07a6" providerId="ADAL" clId="{398CA5F7-FA7C-4858-9495-CA4F842BAB50}" dt="2025-04-08T20:21:08.526" v="1017" actId="47"/>
        <pc:sldMkLst>
          <pc:docMk/>
          <pc:sldMk cId="719758237" sldId="2147481542"/>
        </pc:sldMkLst>
      </pc:sldChg>
      <pc:sldChg chg="del">
        <pc:chgData name="Jauhar, Mehar (A&amp;F)" userId="6b184fc0-f80d-46ab-a4ba-4a5755ad07a6" providerId="ADAL" clId="{398CA5F7-FA7C-4858-9495-CA4F842BAB50}" dt="2025-04-08T20:21:06.735" v="1016" actId="47"/>
        <pc:sldMkLst>
          <pc:docMk/>
          <pc:sldMk cId="3279986888" sldId="2147481543"/>
        </pc:sldMkLst>
      </pc:sldChg>
      <pc:sldChg chg="del">
        <pc:chgData name="Jauhar, Mehar (A&amp;F)" userId="6b184fc0-f80d-46ab-a4ba-4a5755ad07a6" providerId="ADAL" clId="{398CA5F7-FA7C-4858-9495-CA4F842BAB50}" dt="2025-04-08T17:34:43.793" v="430" actId="47"/>
        <pc:sldMkLst>
          <pc:docMk/>
          <pc:sldMk cId="1703071084" sldId="2147481544"/>
        </pc:sldMkLst>
      </pc:sldChg>
      <pc:sldChg chg="modSp mod">
        <pc:chgData name="Jauhar, Mehar (A&amp;F)" userId="6b184fc0-f80d-46ab-a4ba-4a5755ad07a6" providerId="ADAL" clId="{398CA5F7-FA7C-4858-9495-CA4F842BAB50}" dt="2025-04-08T17:14:44.125" v="221" actId="20577"/>
        <pc:sldMkLst>
          <pc:docMk/>
          <pc:sldMk cId="2126720455" sldId="2147481550"/>
        </pc:sldMkLst>
        <pc:spChg chg="mod">
          <ac:chgData name="Jauhar, Mehar (A&amp;F)" userId="6b184fc0-f80d-46ab-a4ba-4a5755ad07a6" providerId="ADAL" clId="{398CA5F7-FA7C-4858-9495-CA4F842BAB50}" dt="2025-04-08T17:14:44.125" v="221" actId="20577"/>
          <ac:spMkLst>
            <pc:docMk/>
            <pc:sldMk cId="2126720455" sldId="2147481550"/>
            <ac:spMk id="11" creationId="{C99D162D-B2EC-B50A-919C-1363298DF8EA}"/>
          </ac:spMkLst>
        </pc:spChg>
      </pc:sldChg>
      <pc:sldChg chg="del">
        <pc:chgData name="Jauhar, Mehar (A&amp;F)" userId="6b184fc0-f80d-46ab-a4ba-4a5755ad07a6" providerId="ADAL" clId="{398CA5F7-FA7C-4858-9495-CA4F842BAB50}" dt="2025-04-08T17:15:25.704" v="223" actId="47"/>
        <pc:sldMkLst>
          <pc:docMk/>
          <pc:sldMk cId="2936321618" sldId="2147483469"/>
        </pc:sldMkLst>
      </pc:sldChg>
      <pc:sldChg chg="del">
        <pc:chgData name="Jauhar, Mehar (A&amp;F)" userId="6b184fc0-f80d-46ab-a4ba-4a5755ad07a6" providerId="ADAL" clId="{398CA5F7-FA7C-4858-9495-CA4F842BAB50}" dt="2025-04-08T17:28:26.727" v="364" actId="47"/>
        <pc:sldMkLst>
          <pc:docMk/>
          <pc:sldMk cId="866654257" sldId="2147483472"/>
        </pc:sldMkLst>
      </pc:sldChg>
      <pc:sldChg chg="del">
        <pc:chgData name="Jauhar, Mehar (A&amp;F)" userId="6b184fc0-f80d-46ab-a4ba-4a5755ad07a6" providerId="ADAL" clId="{398CA5F7-FA7C-4858-9495-CA4F842BAB50}" dt="2025-04-08T17:28:25.432" v="363" actId="47"/>
        <pc:sldMkLst>
          <pc:docMk/>
          <pc:sldMk cId="3379675862" sldId="2147483477"/>
        </pc:sldMkLst>
      </pc:sldChg>
      <pc:sldChg chg="del">
        <pc:chgData name="Jauhar, Mehar (A&amp;F)" userId="6b184fc0-f80d-46ab-a4ba-4a5755ad07a6" providerId="ADAL" clId="{398CA5F7-FA7C-4858-9495-CA4F842BAB50}" dt="2025-04-08T17:28:20.340" v="360" actId="47"/>
        <pc:sldMkLst>
          <pc:docMk/>
          <pc:sldMk cId="2732401005" sldId="2147483478"/>
        </pc:sldMkLst>
      </pc:sldChg>
      <pc:sldChg chg="addSp delSp modSp mod">
        <pc:chgData name="Jauhar, Mehar (A&amp;F)" userId="6b184fc0-f80d-46ab-a4ba-4a5755ad07a6" providerId="ADAL" clId="{398CA5F7-FA7C-4858-9495-CA4F842BAB50}" dt="2025-04-08T17:38:57.793" v="541" actId="20577"/>
        <pc:sldMkLst>
          <pc:docMk/>
          <pc:sldMk cId="1741467460" sldId="2147483486"/>
        </pc:sldMkLst>
        <pc:spChg chg="mod">
          <ac:chgData name="Jauhar, Mehar (A&amp;F)" userId="6b184fc0-f80d-46ab-a4ba-4a5755ad07a6" providerId="ADAL" clId="{398CA5F7-FA7C-4858-9495-CA4F842BAB50}" dt="2025-04-08T17:38:57.793" v="541" actId="20577"/>
          <ac:spMkLst>
            <pc:docMk/>
            <pc:sldMk cId="1741467460" sldId="2147483486"/>
            <ac:spMk id="6" creationId="{9F3788A7-E47C-B5CE-4257-1F649836DE48}"/>
          </ac:spMkLst>
        </pc:spChg>
        <pc:spChg chg="mod">
          <ac:chgData name="Jauhar, Mehar (A&amp;F)" userId="6b184fc0-f80d-46ab-a4ba-4a5755ad07a6" providerId="ADAL" clId="{398CA5F7-FA7C-4858-9495-CA4F842BAB50}" dt="2025-04-08T17:35:49.106" v="440" actId="20577"/>
          <ac:spMkLst>
            <pc:docMk/>
            <pc:sldMk cId="1741467460" sldId="2147483486"/>
            <ac:spMk id="12" creationId="{D985F677-A1F9-8F44-9A05-DCDFD636795C}"/>
          </ac:spMkLst>
        </pc:spChg>
        <pc:picChg chg="add mod">
          <ac:chgData name="Jauhar, Mehar (A&amp;F)" userId="6b184fc0-f80d-46ab-a4ba-4a5755ad07a6" providerId="ADAL" clId="{398CA5F7-FA7C-4858-9495-CA4F842BAB50}" dt="2025-04-08T17:37:56.304" v="464" actId="207"/>
          <ac:picMkLst>
            <pc:docMk/>
            <pc:sldMk cId="1741467460" sldId="2147483486"/>
            <ac:picMk id="3" creationId="{68007EA9-93EC-3476-E482-0255934B3910}"/>
          </ac:picMkLst>
        </pc:picChg>
        <pc:picChg chg="mod">
          <ac:chgData name="Jauhar, Mehar (A&amp;F)" userId="6b184fc0-f80d-46ab-a4ba-4a5755ad07a6" providerId="ADAL" clId="{398CA5F7-FA7C-4858-9495-CA4F842BAB50}" dt="2025-04-08T17:36:31.878" v="444" actId="1076"/>
          <ac:picMkLst>
            <pc:docMk/>
            <pc:sldMk cId="1741467460" sldId="2147483486"/>
            <ac:picMk id="8" creationId="{CCCCF25A-2A8A-9F0F-E7CE-C6B19E671366}"/>
          </ac:picMkLst>
        </pc:picChg>
      </pc:sldChg>
      <pc:sldChg chg="del">
        <pc:chgData name="Jauhar, Mehar (A&amp;F)" userId="6b184fc0-f80d-46ab-a4ba-4a5755ad07a6" providerId="ADAL" clId="{398CA5F7-FA7C-4858-9495-CA4F842BAB50}" dt="2025-04-08T17:28:23.129" v="361" actId="47"/>
        <pc:sldMkLst>
          <pc:docMk/>
          <pc:sldMk cId="3830842327" sldId="2147483487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43442826" sldId="2147483490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88698301" sldId="2147483490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0" sldId="2147483491"/>
        </pc:sldMkLst>
      </pc:sldChg>
      <pc:sldChg chg="modSp add del mod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4109519779" sldId="2147483491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421679414" sldId="2147483492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2976025070" sldId="2147483492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822034790" sldId="214748349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3789209740" sldId="2147483493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632777716" sldId="2147483494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4047586213" sldId="2147483494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0" sldId="2147483495"/>
        </pc:sldMkLst>
      </pc:sldChg>
      <pc:sldChg chg="modSp add del mod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2686430407" sldId="2147483495"/>
        </pc:sldMkLst>
      </pc:sldChg>
      <pc:sldChg chg="add del">
        <pc:chgData name="Jauhar, Mehar (A&amp;F)" userId="6b184fc0-f80d-46ab-a4ba-4a5755ad07a6" providerId="ADAL" clId="{398CA5F7-FA7C-4858-9495-CA4F842BAB50}" dt="2025-04-08T18:04:36.829" v="639" actId="47"/>
        <pc:sldMkLst>
          <pc:docMk/>
          <pc:sldMk cId="1113163294" sldId="2147483496"/>
        </pc:sldMkLst>
      </pc:sldChg>
      <pc:sldChg chg="del">
        <pc:chgData name="Jauhar, Mehar (A&amp;F)" userId="6b184fc0-f80d-46ab-a4ba-4a5755ad07a6" providerId="ADAL" clId="{398CA5F7-FA7C-4858-9495-CA4F842BAB50}" dt="2025-04-08T17:28:46.699" v="366" actId="2696"/>
        <pc:sldMkLst>
          <pc:docMk/>
          <pc:sldMk cId="1887881709" sldId="2147483496"/>
        </pc:sldMkLst>
      </pc:sldChg>
      <pc:sldChg chg="del">
        <pc:chgData name="Jauhar, Mehar (A&amp;F)" userId="6b184fc0-f80d-46ab-a4ba-4a5755ad07a6" providerId="ADAL" clId="{398CA5F7-FA7C-4858-9495-CA4F842BAB50}" dt="2025-04-08T17:30:29.422" v="387" actId="2696"/>
        <pc:sldMkLst>
          <pc:docMk/>
          <pc:sldMk cId="0" sldId="2147483497"/>
        </pc:sldMkLst>
      </pc:sldChg>
      <pc:sldChg chg="add">
        <pc:chgData name="Jauhar, Mehar (A&amp;F)" userId="6b184fc0-f80d-46ab-a4ba-4a5755ad07a6" providerId="ADAL" clId="{398CA5F7-FA7C-4858-9495-CA4F842BAB50}" dt="2025-04-08T17:30:36.527" v="388"/>
        <pc:sldMkLst>
          <pc:docMk/>
          <pc:sldMk cId="118108660" sldId="2147483497"/>
        </pc:sldMkLst>
      </pc:sldChg>
      <pc:sldChg chg="del">
        <pc:chgData name="Jauhar, Mehar (A&amp;F)" userId="6b184fc0-f80d-46ab-a4ba-4a5755ad07a6" providerId="ADAL" clId="{398CA5F7-FA7C-4858-9495-CA4F842BAB50}" dt="2025-04-08T17:30:29.422" v="387" actId="2696"/>
        <pc:sldMkLst>
          <pc:docMk/>
          <pc:sldMk cId="0" sldId="2147483498"/>
        </pc:sldMkLst>
      </pc:sldChg>
      <pc:sldChg chg="add">
        <pc:chgData name="Jauhar, Mehar (A&amp;F)" userId="6b184fc0-f80d-46ab-a4ba-4a5755ad07a6" providerId="ADAL" clId="{398CA5F7-FA7C-4858-9495-CA4F842BAB50}" dt="2025-04-08T17:30:36.527" v="388"/>
        <pc:sldMkLst>
          <pc:docMk/>
          <pc:sldMk cId="1170611262" sldId="2147483498"/>
        </pc:sldMkLst>
      </pc:sldChg>
      <pc:sldChg chg="del">
        <pc:chgData name="Jauhar, Mehar (A&amp;F)" userId="6b184fc0-f80d-46ab-a4ba-4a5755ad07a6" providerId="ADAL" clId="{398CA5F7-FA7C-4858-9495-CA4F842BAB50}" dt="2025-04-08T17:30:29.422" v="387" actId="2696"/>
        <pc:sldMkLst>
          <pc:docMk/>
          <pc:sldMk cId="0" sldId="2147483499"/>
        </pc:sldMkLst>
      </pc:sldChg>
      <pc:sldChg chg="add">
        <pc:chgData name="Jauhar, Mehar (A&amp;F)" userId="6b184fc0-f80d-46ab-a4ba-4a5755ad07a6" providerId="ADAL" clId="{398CA5F7-FA7C-4858-9495-CA4F842BAB50}" dt="2025-04-08T17:30:36.527" v="388"/>
        <pc:sldMkLst>
          <pc:docMk/>
          <pc:sldMk cId="222776703" sldId="2147483499"/>
        </pc:sldMkLst>
      </pc:sldChg>
      <pc:sldChg chg="del">
        <pc:chgData name="Jauhar, Mehar (A&amp;F)" userId="6b184fc0-f80d-46ab-a4ba-4a5755ad07a6" providerId="ADAL" clId="{398CA5F7-FA7C-4858-9495-CA4F842BAB50}" dt="2025-04-08T17:30:29.422" v="387" actId="2696"/>
        <pc:sldMkLst>
          <pc:docMk/>
          <pc:sldMk cId="0" sldId="2147483500"/>
        </pc:sldMkLst>
      </pc:sldChg>
      <pc:sldChg chg="add">
        <pc:chgData name="Jauhar, Mehar (A&amp;F)" userId="6b184fc0-f80d-46ab-a4ba-4a5755ad07a6" providerId="ADAL" clId="{398CA5F7-FA7C-4858-9495-CA4F842BAB50}" dt="2025-04-08T17:30:36.527" v="388"/>
        <pc:sldMkLst>
          <pc:docMk/>
          <pc:sldMk cId="3833177740" sldId="2147483500"/>
        </pc:sldMkLst>
      </pc:sldChg>
      <pc:sldChg chg="add setBg">
        <pc:chgData name="Jauhar, Mehar (A&amp;F)" userId="6b184fc0-f80d-46ab-a4ba-4a5755ad07a6" providerId="ADAL" clId="{398CA5F7-FA7C-4858-9495-CA4F842BAB50}" dt="2025-04-08T17:08:52.530" v="32"/>
        <pc:sldMkLst>
          <pc:docMk/>
          <pc:sldMk cId="94522476" sldId="2147483513"/>
        </pc:sldMkLst>
      </pc:sldChg>
      <pc:sldChg chg="addSp modSp add mod">
        <pc:chgData name="Jauhar, Mehar (A&amp;F)" userId="6b184fc0-f80d-46ab-a4ba-4a5755ad07a6" providerId="ADAL" clId="{398CA5F7-FA7C-4858-9495-CA4F842BAB50}" dt="2025-04-08T17:21:47.073" v="336" actId="20577"/>
        <pc:sldMkLst>
          <pc:docMk/>
          <pc:sldMk cId="2756520490" sldId="2147483514"/>
        </pc:sldMkLst>
        <pc:spChg chg="add mod">
          <ac:chgData name="Jauhar, Mehar (A&amp;F)" userId="6b184fc0-f80d-46ab-a4ba-4a5755ad07a6" providerId="ADAL" clId="{398CA5F7-FA7C-4858-9495-CA4F842BAB50}" dt="2025-04-08T17:18:39.510" v="296" actId="1076"/>
          <ac:spMkLst>
            <pc:docMk/>
            <pc:sldMk cId="2756520490" sldId="2147483514"/>
            <ac:spMk id="5" creationId="{6E1EECB5-E59E-617E-1A65-A11915846272}"/>
          </ac:spMkLst>
        </pc:spChg>
        <pc:spChg chg="mod">
          <ac:chgData name="Jauhar, Mehar (A&amp;F)" userId="6b184fc0-f80d-46ab-a4ba-4a5755ad07a6" providerId="ADAL" clId="{398CA5F7-FA7C-4858-9495-CA4F842BAB50}" dt="2025-04-08T17:17:55.306" v="283" actId="1076"/>
          <ac:spMkLst>
            <pc:docMk/>
            <pc:sldMk cId="2756520490" sldId="2147483514"/>
            <ac:spMk id="18" creationId="{948B3901-F227-88C5-1D1A-F1E84F6CA2CA}"/>
          </ac:spMkLst>
        </pc:spChg>
        <pc:spChg chg="mod">
          <ac:chgData name="Jauhar, Mehar (A&amp;F)" userId="6b184fc0-f80d-46ab-a4ba-4a5755ad07a6" providerId="ADAL" clId="{398CA5F7-FA7C-4858-9495-CA4F842BAB50}" dt="2025-04-08T17:17:42.129" v="280" actId="1076"/>
          <ac:spMkLst>
            <pc:docMk/>
            <pc:sldMk cId="2756520490" sldId="2147483514"/>
            <ac:spMk id="20" creationId="{DEC32FC3-55A4-E3AA-754B-93D636BDA57C}"/>
          </ac:spMkLst>
        </pc:spChg>
        <pc:spChg chg="mod">
          <ac:chgData name="Jauhar, Mehar (A&amp;F)" userId="6b184fc0-f80d-46ab-a4ba-4a5755ad07a6" providerId="ADAL" clId="{398CA5F7-FA7C-4858-9495-CA4F842BAB50}" dt="2025-04-08T17:18:01.944" v="285" actId="1076"/>
          <ac:spMkLst>
            <pc:docMk/>
            <pc:sldMk cId="2756520490" sldId="2147483514"/>
            <ac:spMk id="31" creationId="{34D20D0F-6FCF-BDE8-9715-EA5D7DCB6742}"/>
          </ac:spMkLst>
        </pc:spChg>
        <pc:spChg chg="mod">
          <ac:chgData name="Jauhar, Mehar (A&amp;F)" userId="6b184fc0-f80d-46ab-a4ba-4a5755ad07a6" providerId="ADAL" clId="{398CA5F7-FA7C-4858-9495-CA4F842BAB50}" dt="2025-04-08T17:21:47.073" v="336" actId="20577"/>
          <ac:spMkLst>
            <pc:docMk/>
            <pc:sldMk cId="2756520490" sldId="2147483514"/>
            <ac:spMk id="35" creationId="{45408371-3851-6DEC-FF02-1841D0A4600B}"/>
          </ac:spMkLst>
        </pc:spChg>
        <pc:spChg chg="mod">
          <ac:chgData name="Jauhar, Mehar (A&amp;F)" userId="6b184fc0-f80d-46ab-a4ba-4a5755ad07a6" providerId="ADAL" clId="{398CA5F7-FA7C-4858-9495-CA4F842BAB50}" dt="2025-04-08T17:17:14.213" v="261" actId="1076"/>
          <ac:spMkLst>
            <pc:docMk/>
            <pc:sldMk cId="2756520490" sldId="2147483514"/>
            <ac:spMk id="36" creationId="{AA7FEAEA-740E-6548-30B4-6E689E767ED4}"/>
          </ac:spMkLst>
        </pc:spChg>
        <pc:picChg chg="add mod">
          <ac:chgData name="Jauhar, Mehar (A&amp;F)" userId="6b184fc0-f80d-46ab-a4ba-4a5755ad07a6" providerId="ADAL" clId="{398CA5F7-FA7C-4858-9495-CA4F842BAB50}" dt="2025-04-08T17:18:14.838" v="289" actId="1076"/>
          <ac:picMkLst>
            <pc:docMk/>
            <pc:sldMk cId="2756520490" sldId="2147483514"/>
            <ac:picMk id="2" creationId="{8D4498DC-8481-1115-F6D5-D44A324B5003}"/>
          </ac:picMkLst>
        </pc:picChg>
        <pc:picChg chg="mod">
          <ac:chgData name="Jauhar, Mehar (A&amp;F)" userId="6b184fc0-f80d-46ab-a4ba-4a5755ad07a6" providerId="ADAL" clId="{398CA5F7-FA7C-4858-9495-CA4F842BAB50}" dt="2025-04-08T17:19:37.481" v="298" actId="14826"/>
          <ac:picMkLst>
            <pc:docMk/>
            <pc:sldMk cId="2756520490" sldId="2147483514"/>
            <ac:picMk id="4" creationId="{B4E2242C-82E8-D3DC-02DB-C1379B48FAB6}"/>
          </ac:picMkLst>
        </pc:picChg>
        <pc:picChg chg="mod">
          <ac:chgData name="Jauhar, Mehar (A&amp;F)" userId="6b184fc0-f80d-46ab-a4ba-4a5755ad07a6" providerId="ADAL" clId="{398CA5F7-FA7C-4858-9495-CA4F842BAB50}" dt="2025-04-08T17:18:37.055" v="295" actId="1076"/>
          <ac:picMkLst>
            <pc:docMk/>
            <pc:sldMk cId="2756520490" sldId="2147483514"/>
            <ac:picMk id="30" creationId="{6E51326A-F30E-E61E-943B-9BD6E2A05CE8}"/>
          </ac:picMkLst>
        </pc:picChg>
        <pc:picChg chg="mod">
          <ac:chgData name="Jauhar, Mehar (A&amp;F)" userId="6b184fc0-f80d-46ab-a4ba-4a5755ad07a6" providerId="ADAL" clId="{398CA5F7-FA7C-4858-9495-CA4F842BAB50}" dt="2025-04-08T17:18:45.649" v="297" actId="688"/>
          <ac:picMkLst>
            <pc:docMk/>
            <pc:sldMk cId="2756520490" sldId="2147483514"/>
            <ac:picMk id="32" creationId="{461E03C6-3418-4142-F0BE-8319D9A8FC81}"/>
          </ac:picMkLst>
        </pc:picChg>
        <pc:picChg chg="mod">
          <ac:chgData name="Jauhar, Mehar (A&amp;F)" userId="6b184fc0-f80d-46ab-a4ba-4a5755ad07a6" providerId="ADAL" clId="{398CA5F7-FA7C-4858-9495-CA4F842BAB50}" dt="2025-04-08T17:17:38.853" v="279" actId="1076"/>
          <ac:picMkLst>
            <pc:docMk/>
            <pc:sldMk cId="2756520490" sldId="2147483514"/>
            <ac:picMk id="33" creationId="{7A8BCF02-3215-3FF9-1768-74F3EAB5D1BD}"/>
          </ac:picMkLst>
        </pc:picChg>
        <pc:picChg chg="mod">
          <ac:chgData name="Jauhar, Mehar (A&amp;F)" userId="6b184fc0-f80d-46ab-a4ba-4a5755ad07a6" providerId="ADAL" clId="{398CA5F7-FA7C-4858-9495-CA4F842BAB50}" dt="2025-04-08T17:21:30.716" v="335" actId="1076"/>
          <ac:picMkLst>
            <pc:docMk/>
            <pc:sldMk cId="2756520490" sldId="2147483514"/>
            <ac:picMk id="34" creationId="{BD3586F9-80B9-C433-BABC-82FB4705D8A3}"/>
          </ac:picMkLst>
        </pc:picChg>
      </pc:sldChg>
      <pc:sldChg chg="addSp delSp add del setBg delDesignElem">
        <pc:chgData name="Jauhar, Mehar (A&amp;F)" userId="6b184fc0-f80d-46ab-a4ba-4a5755ad07a6" providerId="ADAL" clId="{398CA5F7-FA7C-4858-9495-CA4F842BAB50}" dt="2025-04-08T17:22:36.228" v="339"/>
        <pc:sldMkLst>
          <pc:docMk/>
          <pc:sldMk cId="557615146" sldId="2147483515"/>
        </pc:sldMkLst>
      </pc:sldChg>
      <pc:sldChg chg="add">
        <pc:chgData name="Jauhar, Mehar (A&amp;F)" userId="6b184fc0-f80d-46ab-a4ba-4a5755ad07a6" providerId="ADAL" clId="{398CA5F7-FA7C-4858-9495-CA4F842BAB50}" dt="2025-04-08T17:22:38.845" v="340"/>
        <pc:sldMkLst>
          <pc:docMk/>
          <pc:sldMk cId="2665184799" sldId="2147483515"/>
        </pc:sldMkLst>
      </pc:sldChg>
      <pc:sldChg chg="modSp add mod">
        <pc:chgData name="Jauhar, Mehar (A&amp;F)" userId="6b184fc0-f80d-46ab-a4ba-4a5755ad07a6" providerId="ADAL" clId="{398CA5F7-FA7C-4858-9495-CA4F842BAB50}" dt="2025-04-08T20:26:30.964" v="1055" actId="20577"/>
        <pc:sldMkLst>
          <pc:docMk/>
          <pc:sldMk cId="2066767852" sldId="2147483516"/>
        </pc:sldMkLst>
        <pc:graphicFrameChg chg="mod modGraphic">
          <ac:chgData name="Jauhar, Mehar (A&amp;F)" userId="6b184fc0-f80d-46ab-a4ba-4a5755ad07a6" providerId="ADAL" clId="{398CA5F7-FA7C-4858-9495-CA4F842BAB50}" dt="2025-04-08T20:26:30.964" v="1055" actId="20577"/>
          <ac:graphicFrameMkLst>
            <pc:docMk/>
            <pc:sldMk cId="2066767852" sldId="2147483516"/>
            <ac:graphicFrameMk id="6" creationId="{368F81D1-7524-C303-1F6B-2A267DC09799}"/>
          </ac:graphicFrameMkLst>
        </pc:graphicFrameChg>
      </pc:sldChg>
      <pc:sldChg chg="add del">
        <pc:chgData name="Jauhar, Mehar (A&amp;F)" userId="6b184fc0-f80d-46ab-a4ba-4a5755ad07a6" providerId="ADAL" clId="{398CA5F7-FA7C-4858-9495-CA4F842BAB50}" dt="2025-04-08T17:22:36.228" v="339"/>
        <pc:sldMkLst>
          <pc:docMk/>
          <pc:sldMk cId="3533881964" sldId="2147483516"/>
        </pc:sldMkLst>
      </pc:sldChg>
      <pc:sldChg chg="add">
        <pc:chgData name="Jauhar, Mehar (A&amp;F)" userId="6b184fc0-f80d-46ab-a4ba-4a5755ad07a6" providerId="ADAL" clId="{398CA5F7-FA7C-4858-9495-CA4F842BAB50}" dt="2025-04-08T17:22:38.845" v="340"/>
        <pc:sldMkLst>
          <pc:docMk/>
          <pc:sldMk cId="326147995" sldId="2147483517"/>
        </pc:sldMkLst>
      </pc:sldChg>
      <pc:sldChg chg="add del">
        <pc:chgData name="Jauhar, Mehar (A&amp;F)" userId="6b184fc0-f80d-46ab-a4ba-4a5755ad07a6" providerId="ADAL" clId="{398CA5F7-FA7C-4858-9495-CA4F842BAB50}" dt="2025-04-08T17:22:36.228" v="339"/>
        <pc:sldMkLst>
          <pc:docMk/>
          <pc:sldMk cId="1510195322" sldId="2147483517"/>
        </pc:sldMkLst>
      </pc:sldChg>
      <pc:sldChg chg="add del">
        <pc:chgData name="Jauhar, Mehar (A&amp;F)" userId="6b184fc0-f80d-46ab-a4ba-4a5755ad07a6" providerId="ADAL" clId="{398CA5F7-FA7C-4858-9495-CA4F842BAB50}" dt="2025-04-08T17:22:36.228" v="339"/>
        <pc:sldMkLst>
          <pc:docMk/>
          <pc:sldMk cId="2994700846" sldId="2147483518"/>
        </pc:sldMkLst>
      </pc:sldChg>
      <pc:sldChg chg="modSp add mod">
        <pc:chgData name="Jauhar, Mehar (A&amp;F)" userId="6b184fc0-f80d-46ab-a4ba-4a5755ad07a6" providerId="ADAL" clId="{398CA5F7-FA7C-4858-9495-CA4F842BAB50}" dt="2025-04-08T20:26:50.143" v="1059" actId="20577"/>
        <pc:sldMkLst>
          <pc:docMk/>
          <pc:sldMk cId="3971631575" sldId="2147483518"/>
        </pc:sldMkLst>
        <pc:graphicFrameChg chg="mod modGraphic">
          <ac:chgData name="Jauhar, Mehar (A&amp;F)" userId="6b184fc0-f80d-46ab-a4ba-4a5755ad07a6" providerId="ADAL" clId="{398CA5F7-FA7C-4858-9495-CA4F842BAB50}" dt="2025-04-08T20:26:50.143" v="1059" actId="20577"/>
          <ac:graphicFrameMkLst>
            <pc:docMk/>
            <pc:sldMk cId="3971631575" sldId="2147483518"/>
            <ac:graphicFrameMk id="6" creationId="{2AE3BF01-A016-BEC2-5A64-E30D1EBA1320}"/>
          </ac:graphicFrameMkLst>
        </pc:graphicFrameChg>
      </pc:sldChg>
      <pc:sldChg chg="add">
        <pc:chgData name="Jauhar, Mehar (A&amp;F)" userId="6b184fc0-f80d-46ab-a4ba-4a5755ad07a6" providerId="ADAL" clId="{398CA5F7-FA7C-4858-9495-CA4F842BAB50}" dt="2025-04-08T18:04:52.754" v="640"/>
        <pc:sldMkLst>
          <pc:docMk/>
          <pc:sldMk cId="0" sldId="2147483519"/>
        </pc:sldMkLst>
      </pc:sldChg>
      <pc:sldChg chg="add del">
        <pc:chgData name="Jauhar, Mehar (A&amp;F)" userId="6b184fc0-f80d-46ab-a4ba-4a5755ad07a6" providerId="ADAL" clId="{398CA5F7-FA7C-4858-9495-CA4F842BAB50}" dt="2025-04-08T17:35:10.307" v="433"/>
        <pc:sldMkLst>
          <pc:docMk/>
          <pc:sldMk cId="1124631863" sldId="2147483519"/>
        </pc:sldMkLst>
      </pc:sldChg>
      <pc:sldChg chg="add del ord">
        <pc:chgData name="Jauhar, Mehar (A&amp;F)" userId="6b184fc0-f80d-46ab-a4ba-4a5755ad07a6" providerId="ADAL" clId="{398CA5F7-FA7C-4858-9495-CA4F842BAB50}" dt="2025-04-08T17:28:16.657" v="359" actId="47"/>
        <pc:sldMkLst>
          <pc:docMk/>
          <pc:sldMk cId="3737039925" sldId="2147483519"/>
        </pc:sldMkLst>
      </pc:sldChg>
      <pc:sldChg chg="add del">
        <pc:chgData name="Jauhar, Mehar (A&amp;F)" userId="6b184fc0-f80d-46ab-a4ba-4a5755ad07a6" providerId="ADAL" clId="{398CA5F7-FA7C-4858-9495-CA4F842BAB50}" dt="2025-04-08T17:29:13.485" v="369"/>
        <pc:sldMkLst>
          <pc:docMk/>
          <pc:sldMk cId="3941707896" sldId="2147483519"/>
        </pc:sldMkLst>
      </pc:sldChg>
      <pc:sldChg chg="add">
        <pc:chgData name="Jauhar, Mehar (A&amp;F)" userId="6b184fc0-f80d-46ab-a4ba-4a5755ad07a6" providerId="ADAL" clId="{398CA5F7-FA7C-4858-9495-CA4F842BAB50}" dt="2025-04-08T18:04:52.754" v="640"/>
        <pc:sldMkLst>
          <pc:docMk/>
          <pc:sldMk cId="1887881709" sldId="2147483520"/>
        </pc:sldMkLst>
      </pc:sldChg>
      <pc:sldChg chg="add">
        <pc:chgData name="Jauhar, Mehar (A&amp;F)" userId="6b184fc0-f80d-46ab-a4ba-4a5755ad07a6" providerId="ADAL" clId="{398CA5F7-FA7C-4858-9495-CA4F842BAB50}" dt="2025-04-08T18:04:52.754" v="640"/>
        <pc:sldMkLst>
          <pc:docMk/>
          <pc:sldMk cId="2976025070" sldId="2147483521"/>
        </pc:sldMkLst>
      </pc:sldChg>
      <pc:sldChg chg="modSp mod">
        <pc:chgData name="Jauhar, Mehar (A&amp;F)" userId="6b184fc0-f80d-46ab-a4ba-4a5755ad07a6" providerId="ADAL" clId="{398CA5F7-FA7C-4858-9495-CA4F842BAB50}" dt="2025-04-08T20:26:44.601" v="1057" actId="20577"/>
        <pc:sldMkLst>
          <pc:docMk/>
          <pc:sldMk cId="2162467127" sldId="2147483522"/>
        </pc:sldMkLst>
        <pc:graphicFrameChg chg="modGraphic">
          <ac:chgData name="Jauhar, Mehar (A&amp;F)" userId="6b184fc0-f80d-46ab-a4ba-4a5755ad07a6" providerId="ADAL" clId="{398CA5F7-FA7C-4858-9495-CA4F842BAB50}" dt="2025-04-08T20:26:44.601" v="1057" actId="20577"/>
          <ac:graphicFrameMkLst>
            <pc:docMk/>
            <pc:sldMk cId="2162467127" sldId="2147483522"/>
            <ac:graphicFrameMk id="5" creationId="{20DC522C-D5EB-9BC8-3212-4035AAC3882E}"/>
          </ac:graphicFrameMkLst>
        </pc:graphicFrameChg>
      </pc:sldChg>
      <pc:sldChg chg="addSp delSp modSp add mod">
        <pc:chgData name="Jauhar, Mehar (A&amp;F)" userId="6b184fc0-f80d-46ab-a4ba-4a5755ad07a6" providerId="ADAL" clId="{398CA5F7-FA7C-4858-9495-CA4F842BAB50}" dt="2025-04-08T20:23:23.476" v="1053" actId="207"/>
        <pc:sldMkLst>
          <pc:docMk/>
          <pc:sldMk cId="1006001903" sldId="2147483523"/>
        </pc:sldMkLst>
        <pc:graphicFrameChg chg="add mod modGraphic">
          <ac:chgData name="Jauhar, Mehar (A&amp;F)" userId="6b184fc0-f80d-46ab-a4ba-4a5755ad07a6" providerId="ADAL" clId="{398CA5F7-FA7C-4858-9495-CA4F842BAB50}" dt="2025-04-08T20:23:23.476" v="1053" actId="207"/>
          <ac:graphicFrameMkLst>
            <pc:docMk/>
            <pc:sldMk cId="1006001903" sldId="2147483523"/>
            <ac:graphicFrameMk id="6" creationId="{EDCF3992-6CB3-6352-7C52-579A745F6247}"/>
          </ac:graphicFrameMkLst>
        </pc:graphicFrameChg>
      </pc:sldChg>
      <pc:sldMasterChg chg="del delSldLayout">
        <pc:chgData name="Jauhar, Mehar (A&amp;F)" userId="6b184fc0-f80d-46ab-a4ba-4a5755ad07a6" providerId="ADAL" clId="{398CA5F7-FA7C-4858-9495-CA4F842BAB50}" dt="2025-04-08T17:28:46.699" v="366" actId="2696"/>
        <pc:sldMasterMkLst>
          <pc:docMk/>
          <pc:sldMasterMk cId="2416757173" sldId="2147483951"/>
        </pc:sldMasterMkLst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1000333641" sldId="2147483952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38850970" sldId="2147483953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706009303" sldId="2147483954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494169445" sldId="2147483955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1946292182" sldId="2147483956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633361666" sldId="2147483957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389406583" sldId="2147483958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757600085" sldId="2147483959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093373228" sldId="2147483960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3497602543" sldId="2147483961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4200699477" sldId="2147483962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1826180283" sldId="2147483963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2378053328" sldId="2147483964"/>
          </pc:sldLayoutMkLst>
        </pc:sldLayoutChg>
        <pc:sldLayoutChg chg="del">
          <pc:chgData name="Jauhar, Mehar (A&amp;F)" userId="6b184fc0-f80d-46ab-a4ba-4a5755ad07a6" providerId="ADAL" clId="{398CA5F7-FA7C-4858-9495-CA4F842BAB50}" dt="2025-04-08T17:28:46.699" v="366" actId="2696"/>
          <pc:sldLayoutMkLst>
            <pc:docMk/>
            <pc:sldMasterMk cId="2416757173" sldId="2147483951"/>
            <pc:sldLayoutMk cId="4169755373" sldId="2147483965"/>
          </pc:sldLayoutMkLst>
        </pc:sldLayoutChg>
      </pc:sldMasterChg>
      <pc:sldMasterChg chg="del delSldLayout">
        <pc:chgData name="Jauhar, Mehar (A&amp;F)" userId="6b184fc0-f80d-46ab-a4ba-4a5755ad07a6" providerId="ADAL" clId="{398CA5F7-FA7C-4858-9495-CA4F842BAB50}" dt="2025-04-08T17:30:29.422" v="387" actId="2696"/>
        <pc:sldMasterMkLst>
          <pc:docMk/>
          <pc:sldMasterMk cId="2240319431" sldId="2147483966"/>
        </pc:sldMasterMkLst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277181123" sldId="2147483967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2765773076" sldId="2147483968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547909604" sldId="2147483969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372498655" sldId="2147483970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706258079" sldId="2147483971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255884297" sldId="2147483972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994575904" sldId="2147483973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619456708" sldId="2147483974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4184349238" sldId="2147483975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3712016902" sldId="2147483976"/>
          </pc:sldLayoutMkLst>
        </pc:sldLayoutChg>
        <pc:sldLayoutChg chg="del">
          <pc:chgData name="Jauhar, Mehar (A&amp;F)" userId="6b184fc0-f80d-46ab-a4ba-4a5755ad07a6" providerId="ADAL" clId="{398CA5F7-FA7C-4858-9495-CA4F842BAB50}" dt="2025-04-08T17:30:29.422" v="387" actId="2696"/>
          <pc:sldLayoutMkLst>
            <pc:docMk/>
            <pc:sldMasterMk cId="2240319431" sldId="2147483966"/>
            <pc:sldLayoutMk cId="131699727" sldId="2147483977"/>
          </pc:sldLayoutMkLst>
        </pc:sldLayoutChg>
      </pc:sldMasterChg>
      <pc:sldMasterChg chg="del delSldLayout">
        <pc:chgData name="Jauhar, Mehar (A&amp;F)" userId="6b184fc0-f80d-46ab-a4ba-4a5755ad07a6" providerId="ADAL" clId="{398CA5F7-FA7C-4858-9495-CA4F842BAB50}" dt="2025-04-08T18:04:36.829" v="639" actId="47"/>
        <pc:sldMasterMkLst>
          <pc:docMk/>
          <pc:sldMasterMk cId="3656391060" sldId="2147483978"/>
        </pc:sldMasterMkLst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658616733" sldId="2147483979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294465311" sldId="2147483980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565767352" sldId="2147483981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17833708" sldId="2147483982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172974272" sldId="2147483983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580863799" sldId="2147483984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876796698" sldId="2147483985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2166660552" sldId="2147483986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070693145" sldId="2147483987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2640071207" sldId="2147483988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2392709223" sldId="2147483989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298380919" sldId="2147483990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1804145972" sldId="2147483991"/>
          </pc:sldLayoutMkLst>
        </pc:sldLayoutChg>
        <pc:sldLayoutChg chg="del">
          <pc:chgData name="Jauhar, Mehar (A&amp;F)" userId="6b184fc0-f80d-46ab-a4ba-4a5755ad07a6" providerId="ADAL" clId="{398CA5F7-FA7C-4858-9495-CA4F842BAB50}" dt="2025-04-08T18:04:36.829" v="639" actId="47"/>
          <pc:sldLayoutMkLst>
            <pc:docMk/>
            <pc:sldMasterMk cId="3656391060" sldId="2147483978"/>
            <pc:sldLayoutMk cId="357632662" sldId="2147483992"/>
          </pc:sldLayoutMkLst>
        </pc:sldLayoutChg>
      </pc:sldMasterChg>
    </pc:docChg>
  </pc:docChgLst>
  <pc:docChgLst>
    <pc:chgData name="Strain, Mallory (A&amp;F)" userId="S::mallory.strain@mass.gov::7f2f9c2c-98ee-44e6-afe8-8ea6a9111392" providerId="AD" clId="Web-{BE9AF50B-4865-ED20-B213-093C7D2FAA55}"/>
    <pc:docChg chg="delSld modSld">
      <pc:chgData name="Strain, Mallory (A&amp;F)" userId="S::mallory.strain@mass.gov::7f2f9c2c-98ee-44e6-afe8-8ea6a9111392" providerId="AD" clId="Web-{BE9AF50B-4865-ED20-B213-093C7D2FAA55}" dt="2025-02-11T18:05:23.687" v="62"/>
      <pc:docMkLst>
        <pc:docMk/>
      </pc:docMkLst>
      <pc:sldChg chg="modSp modCm">
        <pc:chgData name="Strain, Mallory (A&amp;F)" userId="S::mallory.strain@mass.gov::7f2f9c2c-98ee-44e6-afe8-8ea6a9111392" providerId="AD" clId="Web-{BE9AF50B-4865-ED20-B213-093C7D2FAA55}" dt="2025-02-10T21:05:39.405" v="58" actId="20577"/>
        <pc:sldMkLst>
          <pc:docMk/>
          <pc:sldMk cId="1561720608" sldId="2147481257"/>
        </pc:sldMkLst>
        <pc:spChg chg="mod">
          <ac:chgData name="Strain, Mallory (A&amp;F)" userId="S::mallory.strain@mass.gov::7f2f9c2c-98ee-44e6-afe8-8ea6a9111392" providerId="AD" clId="Web-{BE9AF50B-4865-ED20-B213-093C7D2FAA55}" dt="2025-02-10T21:05:39.405" v="58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0T21:05:38.092" v="57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del">
        <pc:chgData name="Strain, Mallory (A&amp;F)" userId="S::mallory.strain@mass.gov::7f2f9c2c-98ee-44e6-afe8-8ea6a9111392" providerId="AD" clId="Web-{BE9AF50B-4865-ED20-B213-093C7D2FAA55}" dt="2025-02-11T18:05:19.827" v="61"/>
        <pc:sldMkLst>
          <pc:docMk/>
          <pc:sldMk cId="4205499045" sldId="2147483484"/>
        </pc:sldMkLst>
      </pc:sldChg>
      <pc:sldChg chg="del">
        <pc:chgData name="Strain, Mallory (A&amp;F)" userId="S::mallory.strain@mass.gov::7f2f9c2c-98ee-44e6-afe8-8ea6a9111392" providerId="AD" clId="Web-{BE9AF50B-4865-ED20-B213-093C7D2FAA55}" dt="2025-02-11T18:05:23.687" v="62"/>
        <pc:sldMkLst>
          <pc:docMk/>
          <pc:sldMk cId="1192983217" sldId="2147483485"/>
        </pc:sldMkLst>
      </pc:sldChg>
      <pc:sldChg chg="modSp modCm">
        <pc:chgData name="Strain, Mallory (A&amp;F)" userId="S::mallory.strain@mass.gov::7f2f9c2c-98ee-44e6-afe8-8ea6a9111392" providerId="AD" clId="Web-{BE9AF50B-4865-ED20-B213-093C7D2FAA55}" dt="2025-02-11T17:25:57.112" v="60" actId="20577"/>
        <pc:sldMkLst>
          <pc:docMk/>
          <pc:sldMk cId="1741467460" sldId="2147483486"/>
        </pc:sldMkLst>
        <pc:spChg chg="mod">
          <ac:chgData name="Strain, Mallory (A&amp;F)" userId="S::mallory.strain@mass.gov::7f2f9c2c-98ee-44e6-afe8-8ea6a9111392" providerId="AD" clId="Web-{BE9AF50B-4865-ED20-B213-093C7D2FAA55}" dt="2025-02-11T17:25:57.112" v="60" actId="20577"/>
          <ac:spMkLst>
            <pc:docMk/>
            <pc:sldMk cId="1741467460" sldId="2147483486"/>
            <ac:spMk id="6" creationId="{9F3788A7-E47C-B5CE-4257-1F649836DE4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BE9AF50B-4865-ED20-B213-093C7D2FAA55}" dt="2025-02-11T17:25:28.440" v="59" actId="20577"/>
              <pc2:cmMkLst xmlns:pc2="http://schemas.microsoft.com/office/powerpoint/2019/9/main/command">
                <pc:docMk/>
                <pc:sldMk cId="1741467460" sldId="2147483486"/>
                <pc2:cmMk id="{B53EFA4F-E9B3-3946-AFC0-E05CEFB9288B}"/>
              </pc2:cmMkLst>
            </pc226:cmChg>
          </p:ext>
        </pc:extLst>
      </pc:sldChg>
    </pc:docChg>
  </pc:docChgLst>
  <pc:docChgLst>
    <pc:chgData name="Strain, Mallory (A&amp;F)" userId="S::mallory.strain@mass.gov::7f2f9c2c-98ee-44e6-afe8-8ea6a9111392" providerId="AD" clId="Web-{3A3ED98F-23F4-2F2D-72E7-DB74D910C9DF}"/>
    <pc:docChg chg="modSld">
      <pc:chgData name="Strain, Mallory (A&amp;F)" userId="S::mallory.strain@mass.gov::7f2f9c2c-98ee-44e6-afe8-8ea6a9111392" providerId="AD" clId="Web-{3A3ED98F-23F4-2F2D-72E7-DB74D910C9DF}" dt="2025-04-08T17:20:05.937" v="5" actId="20577"/>
      <pc:docMkLst>
        <pc:docMk/>
      </pc:docMkLst>
      <pc:sldChg chg="modSp modCm">
        <pc:chgData name="Strain, Mallory (A&amp;F)" userId="S::mallory.strain@mass.gov::7f2f9c2c-98ee-44e6-afe8-8ea6a9111392" providerId="AD" clId="Web-{3A3ED98F-23F4-2F2D-72E7-DB74D910C9DF}" dt="2025-04-08T17:20:05.937" v="5" actId="20577"/>
        <pc:sldMkLst>
          <pc:docMk/>
          <pc:sldMk cId="1561720608" sldId="2147481257"/>
        </pc:sldMkLst>
        <pc:spChg chg="mod">
          <ac:chgData name="Strain, Mallory (A&amp;F)" userId="S::mallory.strain@mass.gov::7f2f9c2c-98ee-44e6-afe8-8ea6a9111392" providerId="AD" clId="Web-{3A3ED98F-23F4-2F2D-72E7-DB74D910C9DF}" dt="2025-04-08T17:20:05.937" v="5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S::mallory.strain@mass.gov::7f2f9c2c-98ee-44e6-afe8-8ea6a9111392" providerId="AD" clId="Web-{3A3ED98F-23F4-2F2D-72E7-DB74D910C9DF}" dt="2025-04-08T17:18:14.953" v="4" actId="20577"/>
              <pc2:cmMkLst xmlns:pc2="http://schemas.microsoft.com/office/powerpoint/2019/9/main/command">
                <pc:docMk/>
                <pc:sldMk cId="1561720608" sldId="2147481257"/>
                <pc2:cmMk id="{E140A5A1-D44F-4538-965D-7BEFBE90553A}"/>
              </pc2:cmMkLst>
            </pc226:cmChg>
          </p:ext>
        </pc:extLst>
      </pc:sldChg>
    </pc:docChg>
  </pc:docChgLst>
  <pc:docChgLst>
    <pc:chgData name="Strain, Mallory (A&amp;F)" userId="S::mallory.strain@mass.gov::7f2f9c2c-98ee-44e6-afe8-8ea6a9111392" providerId="AD" clId="Web-{51C6AF3D-59A6-F672-68B9-BC55D11675C6}"/>
    <pc:docChg chg="delSld sldOrd">
      <pc:chgData name="Strain, Mallory (A&amp;F)" userId="S::mallory.strain@mass.gov::7f2f9c2c-98ee-44e6-afe8-8ea6a9111392" providerId="AD" clId="Web-{51C6AF3D-59A6-F672-68B9-BC55D11675C6}" dt="2025-02-10T19:02:52.722" v="6"/>
      <pc:docMkLst>
        <pc:docMk/>
      </pc:docMkLst>
      <pc:sldChg chg="ord">
        <pc:chgData name="Strain, Mallory (A&amp;F)" userId="S::mallory.strain@mass.gov::7f2f9c2c-98ee-44e6-afe8-8ea6a9111392" providerId="AD" clId="Web-{51C6AF3D-59A6-F672-68B9-BC55D11675C6}" dt="2025-02-10T16:13:52.822" v="2"/>
        <pc:sldMkLst>
          <pc:docMk/>
          <pc:sldMk cId="719758237" sldId="2147481542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6:54.505" v="3"/>
        <pc:sldMkLst>
          <pc:docMk/>
          <pc:sldMk cId="3279986888" sldId="2147481543"/>
        </pc:sldMkLst>
      </pc:sldChg>
      <pc:sldChg chg="ord">
        <pc:chgData name="Strain, Mallory (A&amp;F)" userId="S::mallory.strain@mass.gov::7f2f9c2c-98ee-44e6-afe8-8ea6a9111392" providerId="AD" clId="Web-{51C6AF3D-59A6-F672-68B9-BC55D11675C6}" dt="2025-02-10T18:59:00.317" v="5"/>
        <pc:sldMkLst>
          <pc:docMk/>
          <pc:sldMk cId="1703071084" sldId="2147481544"/>
        </pc:sldMkLst>
      </pc:sldChg>
      <pc:sldChg chg="del">
        <pc:chgData name="Strain, Mallory (A&amp;F)" userId="S::mallory.strain@mass.gov::7f2f9c2c-98ee-44e6-afe8-8ea6a9111392" providerId="AD" clId="Web-{51C6AF3D-59A6-F672-68B9-BC55D11675C6}" dt="2025-02-10T19:02:52.722" v="6"/>
        <pc:sldMkLst>
          <pc:docMk/>
          <pc:sldMk cId="2353380868" sldId="2147483468"/>
        </pc:sldMkLst>
      </pc:sldChg>
    </pc:docChg>
  </pc:docChgLst>
  <pc:docChgLst>
    <pc:chgData name="Strain, Mallory (A&amp;F)" userId="7f2f9c2c-98ee-44e6-afe8-8ea6a9111392" providerId="ADAL" clId="{7122794A-29E6-4A05-AEB3-68EB6471BD27}"/>
    <pc:docChg chg="delSld modSld sldOrd">
      <pc:chgData name="Strain, Mallory (A&amp;F)" userId="7f2f9c2c-98ee-44e6-afe8-8ea6a9111392" providerId="ADAL" clId="{7122794A-29E6-4A05-AEB3-68EB6471BD27}" dt="2025-02-11T17:59:22.598" v="72" actId="2696"/>
      <pc:docMkLst>
        <pc:docMk/>
      </pc:docMkLst>
      <pc:sldChg chg="ord">
        <pc:chgData name="Strain, Mallory (A&amp;F)" userId="7f2f9c2c-98ee-44e6-afe8-8ea6a9111392" providerId="ADAL" clId="{7122794A-29E6-4A05-AEB3-68EB6471BD27}" dt="2025-02-10T17:23:01.388" v="15"/>
        <pc:sldMkLst>
          <pc:docMk/>
          <pc:sldMk cId="1706473524" sldId="256"/>
        </pc:sldMkLst>
      </pc:sldChg>
      <pc:sldChg chg="ord">
        <pc:chgData name="Strain, Mallory (A&amp;F)" userId="7f2f9c2c-98ee-44e6-afe8-8ea6a9111392" providerId="ADAL" clId="{7122794A-29E6-4A05-AEB3-68EB6471BD27}" dt="2025-02-10T20:42:23.983" v="60"/>
        <pc:sldMkLst>
          <pc:docMk/>
          <pc:sldMk cId="2134816594" sldId="2147481244"/>
        </pc:sldMkLst>
      </pc:sldChg>
      <pc:sldChg chg="modSp mod ord modCm">
        <pc:chgData name="Strain, Mallory (A&amp;F)" userId="7f2f9c2c-98ee-44e6-afe8-8ea6a9111392" providerId="ADAL" clId="{7122794A-29E6-4A05-AEB3-68EB6471BD27}" dt="2025-02-10T19:09:30.222" v="58" actId="20577"/>
        <pc:sldMkLst>
          <pc:docMk/>
          <pc:sldMk cId="1561720608" sldId="2147481257"/>
        </pc:sldMkLst>
        <pc:spChg chg="mod">
          <ac:chgData name="Strain, Mallory (A&amp;F)" userId="7f2f9c2c-98ee-44e6-afe8-8ea6a9111392" providerId="ADAL" clId="{7122794A-29E6-4A05-AEB3-68EB6471BD27}" dt="2025-02-10T19:09:30.222" v="58" actId="20577"/>
          <ac:spMkLst>
            <pc:docMk/>
            <pc:sldMk cId="1561720608" sldId="2147481257"/>
            <ac:spMk id="11" creationId="{C99D162D-B2EC-B50A-919C-1363298DF8EA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Strain, Mallory (A&amp;F)" userId="7f2f9c2c-98ee-44e6-afe8-8ea6a9111392" providerId="ADAL" clId="{7122794A-29E6-4A05-AEB3-68EB6471BD27}" dt="2025-02-10T19:09:30.222" v="58" actId="20577"/>
              <pc2:cmMkLst xmlns:pc2="http://schemas.microsoft.com/office/powerpoint/2019/9/main/command">
                <pc:docMk/>
                <pc:sldMk cId="1561720608" sldId="2147481257"/>
                <pc2:cmMk id="{A9C47818-4319-1843-81A9-FB19AAE260BA}"/>
              </pc2:cmMkLst>
            </pc226:cmChg>
          </p:ext>
        </pc:extLst>
      </pc:sldChg>
      <pc:sldChg chg="ord">
        <pc:chgData name="Strain, Mallory (A&amp;F)" userId="7f2f9c2c-98ee-44e6-afe8-8ea6a9111392" providerId="ADAL" clId="{7122794A-29E6-4A05-AEB3-68EB6471BD27}" dt="2025-02-09T23:57:34.766" v="2"/>
        <pc:sldMkLst>
          <pc:docMk/>
          <pc:sldMk cId="3090884649" sldId="2147481286"/>
        </pc:sldMkLst>
      </pc:sldChg>
      <pc:sldChg chg="del">
        <pc:chgData name="Strain, Mallory (A&amp;F)" userId="7f2f9c2c-98ee-44e6-afe8-8ea6a9111392" providerId="ADAL" clId="{7122794A-29E6-4A05-AEB3-68EB6471BD27}" dt="2025-02-11T17:59:14.973" v="69" actId="2696"/>
        <pc:sldMkLst>
          <pc:docMk/>
          <pc:sldMk cId="2520700039" sldId="2147481515"/>
        </pc:sldMkLst>
      </pc:sldChg>
      <pc:sldChg chg="del">
        <pc:chgData name="Strain, Mallory (A&amp;F)" userId="7f2f9c2c-98ee-44e6-afe8-8ea6a9111392" providerId="ADAL" clId="{7122794A-29E6-4A05-AEB3-68EB6471BD27}" dt="2025-02-11T17:58:56.353" v="64" actId="2696"/>
        <pc:sldMkLst>
          <pc:docMk/>
          <pc:sldMk cId="746616314" sldId="2147481523"/>
        </pc:sldMkLst>
      </pc:sldChg>
      <pc:sldChg chg="ord">
        <pc:chgData name="Strain, Mallory (A&amp;F)" userId="7f2f9c2c-98ee-44e6-afe8-8ea6a9111392" providerId="ADAL" clId="{7122794A-29E6-4A05-AEB3-68EB6471BD27}" dt="2025-02-10T20:42:26.805" v="62"/>
        <pc:sldMkLst>
          <pc:docMk/>
          <pc:sldMk cId="2934033854" sldId="2147481531"/>
        </pc:sldMkLst>
      </pc:sldChg>
      <pc:sldChg chg="del">
        <pc:chgData name="Strain, Mallory (A&amp;F)" userId="7f2f9c2c-98ee-44e6-afe8-8ea6a9111392" providerId="ADAL" clId="{7122794A-29E6-4A05-AEB3-68EB6471BD27}" dt="2025-02-11T17:59:02.469" v="65" actId="2696"/>
        <pc:sldMkLst>
          <pc:docMk/>
          <pc:sldMk cId="1499155871" sldId="2147481536"/>
        </pc:sldMkLst>
      </pc:sldChg>
      <pc:sldChg chg="ord">
        <pc:chgData name="Strain, Mallory (A&amp;F)" userId="7f2f9c2c-98ee-44e6-afe8-8ea6a9111392" providerId="ADAL" clId="{7122794A-29E6-4A05-AEB3-68EB6471BD27}" dt="2025-02-10T19:08:44.090" v="19"/>
        <pc:sldMkLst>
          <pc:docMk/>
          <pc:sldMk cId="2733478352" sldId="2147481541"/>
        </pc:sldMkLst>
      </pc:sldChg>
      <pc:sldChg chg="ord">
        <pc:chgData name="Strain, Mallory (A&amp;F)" userId="7f2f9c2c-98ee-44e6-afe8-8ea6a9111392" providerId="ADAL" clId="{7122794A-29E6-4A05-AEB3-68EB6471BD27}" dt="2025-02-09T23:59:30.709" v="13"/>
        <pc:sldMkLst>
          <pc:docMk/>
          <pc:sldMk cId="719758237" sldId="2147481542"/>
        </pc:sldMkLst>
      </pc:sldChg>
      <pc:sldChg chg="ord">
        <pc:chgData name="Strain, Mallory (A&amp;F)" userId="7f2f9c2c-98ee-44e6-afe8-8ea6a9111392" providerId="ADAL" clId="{7122794A-29E6-4A05-AEB3-68EB6471BD27}" dt="2025-02-09T23:58:33.713" v="9"/>
        <pc:sldMkLst>
          <pc:docMk/>
          <pc:sldMk cId="2126720455" sldId="2147481550"/>
        </pc:sldMkLst>
      </pc:sldChg>
      <pc:sldChg chg="mod modShow">
        <pc:chgData name="Strain, Mallory (A&amp;F)" userId="7f2f9c2c-98ee-44e6-afe8-8ea6a9111392" providerId="ADAL" clId="{7122794A-29E6-4A05-AEB3-68EB6471BD27}" dt="2025-02-09T23:56:40.959" v="0" actId="729"/>
        <pc:sldMkLst>
          <pc:docMk/>
          <pc:sldMk cId="2353380868" sldId="2147483468"/>
        </pc:sldMkLst>
      </pc:sldChg>
      <pc:sldChg chg="mod modShow">
        <pc:chgData name="Strain, Mallory (A&amp;F)" userId="7f2f9c2c-98ee-44e6-afe8-8ea6a9111392" providerId="ADAL" clId="{7122794A-29E6-4A05-AEB3-68EB6471BD27}" dt="2025-02-11T17:55:23.278" v="63" actId="729"/>
        <pc:sldMkLst>
          <pc:docMk/>
          <pc:sldMk cId="2936321618" sldId="2147483469"/>
        </pc:sldMkLst>
      </pc:sldChg>
      <pc:sldChg chg="del">
        <pc:chgData name="Strain, Mallory (A&amp;F)" userId="7f2f9c2c-98ee-44e6-afe8-8ea6a9111392" providerId="ADAL" clId="{7122794A-29E6-4A05-AEB3-68EB6471BD27}" dt="2025-02-11T17:59:22.598" v="72" actId="2696"/>
        <pc:sldMkLst>
          <pc:docMk/>
          <pc:sldMk cId="2321386079" sldId="2147483471"/>
        </pc:sldMkLst>
      </pc:sldChg>
      <pc:sldChg chg="del">
        <pc:chgData name="Strain, Mallory (A&amp;F)" userId="7f2f9c2c-98ee-44e6-afe8-8ea6a9111392" providerId="ADAL" clId="{7122794A-29E6-4A05-AEB3-68EB6471BD27}" dt="2025-02-11T17:59:11.932" v="68" actId="2696"/>
        <pc:sldMkLst>
          <pc:docMk/>
          <pc:sldMk cId="1721683067" sldId="2147483479"/>
        </pc:sldMkLst>
      </pc:sldChg>
      <pc:sldChg chg="del">
        <pc:chgData name="Strain, Mallory (A&amp;F)" userId="7f2f9c2c-98ee-44e6-afe8-8ea6a9111392" providerId="ADAL" clId="{7122794A-29E6-4A05-AEB3-68EB6471BD27}" dt="2025-02-11T17:59:07.308" v="66" actId="2696"/>
        <pc:sldMkLst>
          <pc:docMk/>
          <pc:sldMk cId="976800554" sldId="2147483480"/>
        </pc:sldMkLst>
      </pc:sldChg>
      <pc:sldChg chg="del">
        <pc:chgData name="Strain, Mallory (A&amp;F)" userId="7f2f9c2c-98ee-44e6-afe8-8ea6a9111392" providerId="ADAL" clId="{7122794A-29E6-4A05-AEB3-68EB6471BD27}" dt="2025-02-11T17:59:20.358" v="71" actId="2696"/>
        <pc:sldMkLst>
          <pc:docMk/>
          <pc:sldMk cId="1962231768" sldId="2147483481"/>
        </pc:sldMkLst>
      </pc:sldChg>
      <pc:sldChg chg="del">
        <pc:chgData name="Strain, Mallory (A&amp;F)" userId="7f2f9c2c-98ee-44e6-afe8-8ea6a9111392" providerId="ADAL" clId="{7122794A-29E6-4A05-AEB3-68EB6471BD27}" dt="2025-02-11T17:59:09.924" v="67" actId="2696"/>
        <pc:sldMkLst>
          <pc:docMk/>
          <pc:sldMk cId="2185845481" sldId="2147483482"/>
        </pc:sldMkLst>
      </pc:sldChg>
      <pc:sldChg chg="del">
        <pc:chgData name="Strain, Mallory (A&amp;F)" userId="7f2f9c2c-98ee-44e6-afe8-8ea6a9111392" providerId="ADAL" clId="{7122794A-29E6-4A05-AEB3-68EB6471BD27}" dt="2025-02-11T17:59:18.094" v="70" actId="2696"/>
        <pc:sldMkLst>
          <pc:docMk/>
          <pc:sldMk cId="2801004244" sldId="2147483483"/>
        </pc:sldMkLst>
      </pc:sldChg>
    </pc:docChg>
  </pc:docChgLst>
  <pc:docChgLst>
    <pc:chgData name="LaRocca, Robert E. (A&amp;F)" userId="S::robert.e.larocca@mass.gov::ceee8bfd-19b9-4b75-a601-a6435830a151" providerId="AD" clId="Web-{3956A604-6107-5E08-CDE6-F8D220DBED93}"/>
    <pc:docChg chg="addSld delSld modSld sldOrd">
      <pc:chgData name="LaRocca, Robert E. (A&amp;F)" userId="S::robert.e.larocca@mass.gov::ceee8bfd-19b9-4b75-a601-a6435830a151" providerId="AD" clId="Web-{3956A604-6107-5E08-CDE6-F8D220DBED93}" dt="2025-02-11T00:31:04.320" v="27"/>
      <pc:docMkLst>
        <pc:docMk/>
      </pc:docMkLst>
      <pc:sldChg chg="modSp">
        <pc:chgData name="LaRocca, Robert E. (A&amp;F)" userId="S::robert.e.larocca@mass.gov::ceee8bfd-19b9-4b75-a601-a6435830a151" providerId="AD" clId="Web-{3956A604-6107-5E08-CDE6-F8D220DBED93}" dt="2025-02-10T19:26:46.093" v="14" actId="20577"/>
        <pc:sldMkLst>
          <pc:docMk/>
          <pc:sldMk cId="1026363083" sldId="259"/>
        </pc:sldMkLst>
        <pc:spChg chg="mod">
          <ac:chgData name="LaRocca, Robert E. (A&amp;F)" userId="S::robert.e.larocca@mass.gov::ceee8bfd-19b9-4b75-a601-a6435830a151" providerId="AD" clId="Web-{3956A604-6107-5E08-CDE6-F8D220DBED93}" dt="2025-02-10T19:26:46.093" v="14" actId="20577"/>
          <ac:spMkLst>
            <pc:docMk/>
            <pc:sldMk cId="1026363083" sldId="259"/>
            <ac:spMk id="7" creationId="{E6AD7064-0AC9-6E47-E86E-81BCD2E5523D}"/>
          </ac:spMkLst>
        </pc:spChg>
      </pc:sldChg>
      <pc:sldChg chg="del">
        <pc:chgData name="LaRocca, Robert E. (A&amp;F)" userId="S::robert.e.larocca@mass.gov::ceee8bfd-19b9-4b75-a601-a6435830a151" providerId="AD" clId="Web-{3956A604-6107-5E08-CDE6-F8D220DBED93}" dt="2025-02-10T19:26:21.609" v="0"/>
        <pc:sldMkLst>
          <pc:docMk/>
          <pc:sldMk cId="1689641411" sldId="268"/>
        </pc:sldMkLst>
      </pc:sldChg>
      <pc:sldChg chg="modSp ord">
        <pc:chgData name="LaRocca, Robert E. (A&amp;F)" userId="S::robert.e.larocca@mass.gov::ceee8bfd-19b9-4b75-a601-a6435830a151" providerId="AD" clId="Web-{3956A604-6107-5E08-CDE6-F8D220DBED93}" dt="2025-02-11T00:31:04.320" v="27"/>
        <pc:sldMkLst>
          <pc:docMk/>
          <pc:sldMk cId="2588308686" sldId="2147481537"/>
        </pc:sldMkLst>
        <pc:spChg chg="mod">
          <ac:chgData name="LaRocca, Robert E. (A&amp;F)" userId="S::robert.e.larocca@mass.gov::ceee8bfd-19b9-4b75-a601-a6435830a151" providerId="AD" clId="Web-{3956A604-6107-5E08-CDE6-F8D220DBED93}" dt="2025-02-11T00:29:25.634" v="24" actId="20577"/>
          <ac:spMkLst>
            <pc:docMk/>
            <pc:sldMk cId="2588308686" sldId="2147481537"/>
            <ac:spMk id="3" creationId="{1A3044D5-9E36-BC02-C53B-66E921D12DE6}"/>
          </ac:spMkLst>
        </pc:spChg>
      </pc:sldChg>
      <pc:sldChg chg="add">
        <pc:chgData name="LaRocca, Robert E. (A&amp;F)" userId="S::robert.e.larocca@mass.gov::ceee8bfd-19b9-4b75-a601-a6435830a151" providerId="AD" clId="Web-{3956A604-6107-5E08-CDE6-F8D220DBED93}" dt="2025-02-11T00:30:19.868" v="25"/>
        <pc:sldMkLst>
          <pc:docMk/>
          <pc:sldMk cId="3781811713" sldId="2147483488"/>
        </pc:sldMkLst>
      </pc:sldChg>
      <pc:sldChg chg="add">
        <pc:chgData name="LaRocca, Robert E. (A&amp;F)" userId="S::robert.e.larocca@mass.gov::ceee8bfd-19b9-4b75-a601-a6435830a151" providerId="AD" clId="Web-{3956A604-6107-5E08-CDE6-F8D220DBED93}" dt="2025-02-11T00:30:45.024" v="26"/>
        <pc:sldMkLst>
          <pc:docMk/>
          <pc:sldMk cId="812206341" sldId="2147483489"/>
        </pc:sldMkLst>
      </pc:sldChg>
    </pc:docChg>
  </pc:docChgLst>
  <pc:docChgLst>
    <pc:chgData name="Fritz, Samuel B. (A&amp;F)" userId="0242f317-a9c7-40e6-a6e6-ebbdcde2729e" providerId="ADAL" clId="{799FF20C-DAE9-430F-B246-D54223F49543}"/>
    <pc:docChg chg="modSld">
      <pc:chgData name="Fritz, Samuel B. (A&amp;F)" userId="0242f317-a9c7-40e6-a6e6-ebbdcde2729e" providerId="ADAL" clId="{799FF20C-DAE9-430F-B246-D54223F49543}" dt="2025-04-14T15:29:08.025" v="1" actId="20577"/>
      <pc:docMkLst>
        <pc:docMk/>
      </pc:docMkLst>
      <pc:sldChg chg="modNotesTx">
        <pc:chgData name="Fritz, Samuel B. (A&amp;F)" userId="0242f317-a9c7-40e6-a6e6-ebbdcde2729e" providerId="ADAL" clId="{799FF20C-DAE9-430F-B246-D54223F49543}" dt="2025-04-14T15:29:08.025" v="1" actId="20577"/>
        <pc:sldMkLst>
          <pc:docMk/>
          <pc:sldMk cId="1363718648" sldId="2147481540"/>
        </pc:sldMkLst>
      </pc:sldChg>
      <pc:sldChg chg="modNotesTx">
        <pc:chgData name="Fritz, Samuel B. (A&amp;F)" userId="0242f317-a9c7-40e6-a6e6-ebbdcde2729e" providerId="ADAL" clId="{799FF20C-DAE9-430F-B246-D54223F49543}" dt="2025-04-14T15:28:35.980" v="0" actId="20577"/>
        <pc:sldMkLst>
          <pc:docMk/>
          <pc:sldMk cId="1006001903" sldId="2147483523"/>
        </pc:sldMkLst>
      </pc:sldChg>
    </pc:docChg>
  </pc:docChgLst>
  <pc:docChgLst>
    <pc:chgData name="Leonarte Paredes, Micaela (A&amp;F)" userId="S::micaela.leonarteparedes@mass.gov::9dd405bc-2413-4d02-bb30-9534b8884de8" providerId="AD" clId="Web-{71684631-46A8-25AD-529D-4A9117F57D9F}"/>
    <pc:docChg chg="addSld delSld modSld sldOrd">
      <pc:chgData name="Leonarte Paredes, Micaela (A&amp;F)" userId="S::micaela.leonarteparedes@mass.gov::9dd405bc-2413-4d02-bb30-9534b8884de8" providerId="AD" clId="Web-{71684631-46A8-25AD-529D-4A9117F57D9F}" dt="2025-04-08T19:07:01.530" v="105"/>
      <pc:docMkLst>
        <pc:docMk/>
      </pc:docMkLst>
      <pc:sldChg chg="modSp">
        <pc:chgData name="Leonarte Paredes, Micaela (A&amp;F)" userId="S::micaela.leonarteparedes@mass.gov::9dd405bc-2413-4d02-bb30-9534b8884de8" providerId="AD" clId="Web-{71684631-46A8-25AD-529D-4A9117F57D9F}" dt="2025-04-08T18:51:52.310" v="55"/>
        <pc:sldMkLst>
          <pc:docMk/>
          <pc:sldMk cId="3971631575" sldId="2147483518"/>
        </pc:sldMkLst>
        <pc:graphicFrameChg chg="mod modGraphic">
          <ac:chgData name="Leonarte Paredes, Micaela (A&amp;F)" userId="S::micaela.leonarteparedes@mass.gov::9dd405bc-2413-4d02-bb30-9534b8884de8" providerId="AD" clId="Web-{71684631-46A8-25AD-529D-4A9117F57D9F}" dt="2025-04-08T18:51:52.310" v="55"/>
          <ac:graphicFrameMkLst>
            <pc:docMk/>
            <pc:sldMk cId="3971631575" sldId="2147483518"/>
            <ac:graphicFrameMk id="6" creationId="{2AE3BF01-A016-BEC2-5A64-E30D1EBA1320}"/>
          </ac:graphicFrameMkLst>
        </pc:graphicFrameChg>
      </pc:sldChg>
      <pc:sldChg chg="new del">
        <pc:chgData name="Leonarte Paredes, Micaela (A&amp;F)" userId="S::micaela.leonarteparedes@mass.gov::9dd405bc-2413-4d02-bb30-9534b8884de8" providerId="AD" clId="Web-{71684631-46A8-25AD-529D-4A9117F57D9F}" dt="2025-04-08T18:43:51.652" v="18"/>
        <pc:sldMkLst>
          <pc:docMk/>
          <pc:sldMk cId="1046316871" sldId="2147483522"/>
        </pc:sldMkLst>
      </pc:sldChg>
      <pc:sldChg chg="addSp delSp modSp add ord replId">
        <pc:chgData name="Leonarte Paredes, Micaela (A&amp;F)" userId="S::micaela.leonarteparedes@mass.gov::9dd405bc-2413-4d02-bb30-9534b8884de8" providerId="AD" clId="Web-{71684631-46A8-25AD-529D-4A9117F57D9F}" dt="2025-04-08T19:07:01.530" v="105"/>
        <pc:sldMkLst>
          <pc:docMk/>
          <pc:sldMk cId="2162467127" sldId="2147483522"/>
        </pc:sldMkLst>
        <pc:spChg chg="mod">
          <ac:chgData name="Leonarte Paredes, Micaela (A&amp;F)" userId="S::micaela.leonarteparedes@mass.gov::9dd405bc-2413-4d02-bb30-9534b8884de8" providerId="AD" clId="Web-{71684631-46A8-25AD-529D-4A9117F57D9F}" dt="2025-04-08T18:44:59.248" v="30" actId="20577"/>
          <ac:spMkLst>
            <pc:docMk/>
            <pc:sldMk cId="2162467127" sldId="2147483522"/>
            <ac:spMk id="9" creationId="{9C1EC7BE-EB5D-D4E6-6A7F-F159DC27FCBB}"/>
          </ac:spMkLst>
        </pc:spChg>
        <pc:graphicFrameChg chg="add mod ord modGraphic">
          <ac:chgData name="Leonarte Paredes, Micaela (A&amp;F)" userId="S::micaela.leonarteparedes@mass.gov::9dd405bc-2413-4d02-bb30-9534b8884de8" providerId="AD" clId="Web-{71684631-46A8-25AD-529D-4A9117F57D9F}" dt="2025-04-08T19:07:01.530" v="105"/>
          <ac:graphicFrameMkLst>
            <pc:docMk/>
            <pc:sldMk cId="2162467127" sldId="2147483522"/>
            <ac:graphicFrameMk id="5" creationId="{20DC522C-D5EB-9BC8-3212-4035AAC3882E}"/>
          </ac:graphicFrameMkLst>
        </pc:graphicFrameChg>
      </pc:sldChg>
    </pc:docChg>
  </pc:docChgLst>
  <pc:docChgLst>
    <pc:chgData name="Leonarte Paredes, Micaela (A&amp;F)" userId="9dd405bc-2413-4d02-bb30-9534b8884de8" providerId="ADAL" clId="{2A2590EB-084D-44C0-BBFD-8EC35D0E6162}"/>
    <pc:docChg chg="modSld">
      <pc:chgData name="Leonarte Paredes, Micaela (A&amp;F)" userId="9dd405bc-2413-4d02-bb30-9534b8884de8" providerId="ADAL" clId="{2A2590EB-084D-44C0-BBFD-8EC35D0E6162}" dt="2025-04-09T01:39:11.718" v="0" actId="2164"/>
      <pc:docMkLst>
        <pc:docMk/>
      </pc:docMkLst>
      <pc:sldChg chg="modSp mod">
        <pc:chgData name="Leonarte Paredes, Micaela (A&amp;F)" userId="9dd405bc-2413-4d02-bb30-9534b8884de8" providerId="ADAL" clId="{2A2590EB-084D-44C0-BBFD-8EC35D0E6162}" dt="2025-04-09T01:39:11.718" v="0" actId="2164"/>
        <pc:sldMkLst>
          <pc:docMk/>
          <pc:sldMk cId="3971631575" sldId="2147483518"/>
        </pc:sldMkLst>
        <pc:graphicFrameChg chg="modGraphic">
          <ac:chgData name="Leonarte Paredes, Micaela (A&amp;F)" userId="9dd405bc-2413-4d02-bb30-9534b8884de8" providerId="ADAL" clId="{2A2590EB-084D-44C0-BBFD-8EC35D0E6162}" dt="2025-04-09T01:39:11.718" v="0" actId="2164"/>
          <ac:graphicFrameMkLst>
            <pc:docMk/>
            <pc:sldMk cId="3971631575" sldId="2147483518"/>
            <ac:graphicFrameMk id="6" creationId="{2AE3BF01-A016-BEC2-5A64-E30D1EBA1320}"/>
          </ac:graphicFrameMkLst>
        </pc:graphicFrameChg>
      </pc:sldChg>
    </pc:docChg>
  </pc:docChgLst>
  <pc:docChgLst>
    <pc:chgData name="Strain, Mallory (A&amp;F)" userId="S::mallory.strain@mass.gov::7f2f9c2c-98ee-44e6-afe8-8ea6a9111392" providerId="AD" clId="Web-{5D035CC1-F689-67E1-1043-68DF2D3F80E3}"/>
    <pc:docChg chg="modSld">
      <pc:chgData name="Strain, Mallory (A&amp;F)" userId="S::mallory.strain@mass.gov::7f2f9c2c-98ee-44e6-afe8-8ea6a9111392" providerId="AD" clId="Web-{5D035CC1-F689-67E1-1043-68DF2D3F80E3}" dt="2025-02-11T19:08:19.760" v="65" actId="20577"/>
      <pc:docMkLst>
        <pc:docMk/>
      </pc:docMkLst>
      <pc:sldChg chg="modSp">
        <pc:chgData name="Strain, Mallory (A&amp;F)" userId="S::mallory.strain@mass.gov::7f2f9c2c-98ee-44e6-afe8-8ea6a9111392" providerId="AD" clId="Web-{5D035CC1-F689-67E1-1043-68DF2D3F80E3}" dt="2025-02-11T19:08:19.760" v="65" actId="20577"/>
        <pc:sldMkLst>
          <pc:docMk/>
          <pc:sldMk cId="3379675862" sldId="2147483477"/>
        </pc:sldMkLst>
      </pc:sldChg>
      <pc:sldChg chg="modSp">
        <pc:chgData name="Strain, Mallory (A&amp;F)" userId="S::mallory.strain@mass.gov::7f2f9c2c-98ee-44e6-afe8-8ea6a9111392" providerId="AD" clId="Web-{5D035CC1-F689-67E1-1043-68DF2D3F80E3}" dt="2025-02-11T19:05:31.307" v="30" actId="20577"/>
        <pc:sldMkLst>
          <pc:docMk/>
          <pc:sldMk cId="3830842327" sldId="214748348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nicipal Funds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B$2:$B$5</c:f>
              <c:numCache>
                <c:formatCode>"$"#,##0</c:formatCode>
                <c:ptCount val="1"/>
                <c:pt idx="0">
                  <c:v>1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6C7-42A2-8FA4-EECB216B757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sis Credit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C$2:$C$5</c:f>
              <c:numCache>
                <c:formatCode>"$"#,##0</c:formatCode>
                <c:ptCount val="1"/>
                <c:pt idx="0">
                  <c:v>12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26C7-42A2-8FA4-EECB216B757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WA Bonu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D$2:$D$5</c:f>
              <c:numCache>
                <c:formatCode>"$"#,##0</c:formatCode>
                <c:ptCount val="1"/>
                <c:pt idx="0">
                  <c:v>48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26C7-42A2-8FA4-EECB216B757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ergy Community Bonus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1"/>
                <c:pt idx="0">
                  <c:v>Project Financing</c:v>
                </c:pt>
              </c:strCache>
              <c:extLst/>
            </c:strRef>
          </c:cat>
          <c:val>
            <c:numRef>
              <c:f>Sheet1!$E$2:$E$5</c:f>
              <c:numCache>
                <c:formatCode>"$"#,##0</c:formatCode>
                <c:ptCount val="1"/>
                <c:pt idx="0">
                  <c:v>2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26C7-42A2-8FA4-EECB216B757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270869184"/>
        <c:axId val="1270869664"/>
      </c:barChart>
      <c:catAx>
        <c:axId val="127086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664"/>
        <c:crosses val="autoZero"/>
        <c:auto val="1"/>
        <c:lblAlgn val="ctr"/>
        <c:lblOffset val="100"/>
        <c:noMultiLvlLbl val="0"/>
      </c:catAx>
      <c:valAx>
        <c:axId val="1270869664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&quot;$&quot;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0869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svg"/><Relationship Id="rId1" Type="http://schemas.openxmlformats.org/officeDocument/2006/relationships/image" Target="../media/image19.png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image" Target="../media/image53.jpe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svg"/><Relationship Id="rId1" Type="http://schemas.openxmlformats.org/officeDocument/2006/relationships/image" Target="../media/image19.png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png"/><Relationship Id="rId1" Type="http://schemas.openxmlformats.org/officeDocument/2006/relationships/image" Target="../media/image5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8DC64B-4E2D-44E2-9DF7-09484415FC99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9389673-3CE4-4756-A454-FD7F094BB1FA}">
      <dgm:prSet phldr="0" custT="1"/>
      <dgm:spPr/>
      <dgm:t>
        <a:bodyPr/>
        <a:lstStyle/>
        <a:p>
          <a:pPr rtl="0"/>
          <a:r>
            <a:rPr lang="en-US" sz="2400">
              <a:latin typeface="TW Cen MT"/>
            </a:rPr>
            <a:t>Federal Matching Funds Legislation</a:t>
          </a:r>
          <a:endParaRPr lang="en-US" sz="2400" spc="200">
            <a:latin typeface="TW Cen MT"/>
          </a:endParaRPr>
        </a:p>
      </dgm:t>
    </dgm:pt>
    <dgm:pt modelId="{89BC19D7-C4DE-42E0-9082-DB0401E2A15B}" type="parTrans" cxnId="{1A21BCB6-EF5E-491F-A983-90E9FD537A51}">
      <dgm:prSet/>
      <dgm:spPr/>
      <dgm:t>
        <a:bodyPr/>
        <a:lstStyle/>
        <a:p>
          <a:endParaRPr lang="en-US" sz="1800"/>
        </a:p>
      </dgm:t>
    </dgm:pt>
    <dgm:pt modelId="{42520116-B6A3-476D-8AA5-F55B2CF7AC5E}" type="sibTrans" cxnId="{1A21BCB6-EF5E-491F-A983-90E9FD537A51}">
      <dgm:prSet/>
      <dgm:spPr/>
      <dgm:t>
        <a:bodyPr/>
        <a:lstStyle/>
        <a:p>
          <a:endParaRPr lang="en-US" sz="1800"/>
        </a:p>
      </dgm:t>
    </dgm:pt>
    <dgm:pt modelId="{0EC34654-142D-432D-8A16-20673E4380BB}">
      <dgm:prSet phldr="0" custT="1"/>
      <dgm:spPr/>
      <dgm:t>
        <a:bodyPr/>
        <a:lstStyle/>
        <a:p>
          <a:r>
            <a:rPr lang="en-US" sz="2400" spc="200">
              <a:latin typeface="TW Cen MT"/>
            </a:rPr>
            <a:t>New Federal Funding Opportunities </a:t>
          </a:r>
          <a:endParaRPr lang="en-US" sz="2400">
            <a:latin typeface="TW Cen MT"/>
          </a:endParaRPr>
        </a:p>
      </dgm:t>
    </dgm:pt>
    <dgm:pt modelId="{EC801795-9464-4AD3-84BB-50EF5AE10191}" type="sibTrans" cxnId="{D68DB329-6D97-410A-8F24-65454EB2CC10}">
      <dgm:prSet/>
      <dgm:spPr/>
      <dgm:t>
        <a:bodyPr/>
        <a:lstStyle/>
        <a:p>
          <a:endParaRPr lang="en-US" sz="1800"/>
        </a:p>
      </dgm:t>
    </dgm:pt>
    <dgm:pt modelId="{FB179382-DB9E-43C0-A562-75C96B8C5A4F}" type="parTrans" cxnId="{D68DB329-6D97-410A-8F24-65454EB2CC10}">
      <dgm:prSet/>
      <dgm:spPr/>
      <dgm:t>
        <a:bodyPr/>
        <a:lstStyle/>
        <a:p>
          <a:endParaRPr lang="en-US" sz="1800"/>
        </a:p>
      </dgm:t>
    </dgm:pt>
    <dgm:pt modelId="{9CD8F89A-A6B3-4175-9BCB-FB8D426F9326}">
      <dgm:prSet custT="1"/>
      <dgm:spPr/>
      <dgm:t>
        <a:bodyPr/>
        <a:lstStyle/>
        <a:p>
          <a:pPr rtl="0"/>
          <a:r>
            <a:rPr lang="en-US" sz="2400">
              <a:latin typeface="TW Cen MT"/>
            </a:rPr>
            <a:t>Q&amp;A / Discussion</a:t>
          </a:r>
        </a:p>
      </dgm:t>
    </dgm:pt>
    <dgm:pt modelId="{8D1D619F-145B-476A-BED9-4B5C9DA18B71}" type="sibTrans" cxnId="{6762F825-E989-4956-B2F2-2B1CE8766227}">
      <dgm:prSet/>
      <dgm:spPr/>
      <dgm:t>
        <a:bodyPr/>
        <a:lstStyle/>
        <a:p>
          <a:endParaRPr lang="en-US" sz="1800"/>
        </a:p>
      </dgm:t>
    </dgm:pt>
    <dgm:pt modelId="{4B271377-646B-4282-970C-70F045735C0C}" type="parTrans" cxnId="{6762F825-E989-4956-B2F2-2B1CE8766227}">
      <dgm:prSet/>
      <dgm:spPr/>
      <dgm:t>
        <a:bodyPr/>
        <a:lstStyle/>
        <a:p>
          <a:endParaRPr lang="en-US" sz="1800"/>
        </a:p>
      </dgm:t>
    </dgm:pt>
    <dgm:pt modelId="{04480786-7A57-42F0-811C-D0F30D93C041}">
      <dgm:prSet phldr="0" custT="1"/>
      <dgm:spPr/>
      <dgm:t>
        <a:bodyPr/>
        <a:lstStyle/>
        <a:p>
          <a:pPr rtl="0"/>
          <a:r>
            <a:rPr lang="en-US" sz="2400">
              <a:latin typeface="TW Cen MT"/>
            </a:rPr>
            <a:t>About FFIO</a:t>
          </a:r>
        </a:p>
      </dgm:t>
    </dgm:pt>
    <dgm:pt modelId="{4EEEDFA1-58BB-4C7E-8289-81BA44E808CB}" type="parTrans" cxnId="{A231580D-C10F-4E8A-B75B-1BD6FDD2BD18}">
      <dgm:prSet/>
      <dgm:spPr/>
      <dgm:t>
        <a:bodyPr/>
        <a:lstStyle/>
        <a:p>
          <a:endParaRPr lang="en-US" sz="1800"/>
        </a:p>
      </dgm:t>
    </dgm:pt>
    <dgm:pt modelId="{D2978AD3-37C2-403B-B3A1-A78E47E52F46}" type="sibTrans" cxnId="{A231580D-C10F-4E8A-B75B-1BD6FDD2BD18}">
      <dgm:prSet/>
      <dgm:spPr/>
      <dgm:t>
        <a:bodyPr/>
        <a:lstStyle/>
        <a:p>
          <a:endParaRPr lang="en-US" sz="1800"/>
        </a:p>
      </dgm:t>
    </dgm:pt>
    <dgm:pt modelId="{6FFA146C-84D5-4B6F-825E-B72737013D6D}">
      <dgm:prSet phldr="0" custT="1"/>
      <dgm:spPr/>
      <dgm:t>
        <a:bodyPr/>
        <a:lstStyle/>
        <a:p>
          <a:r>
            <a:rPr lang="en-US" sz="2400" b="0" i="0" u="none"/>
            <a:t>MassDOT Municipal Grants</a:t>
          </a:r>
          <a:endParaRPr lang="en-US" sz="2400">
            <a:latin typeface="TW Cen MT"/>
          </a:endParaRPr>
        </a:p>
      </dgm:t>
    </dgm:pt>
    <dgm:pt modelId="{7844B180-640E-4273-A9E7-2CDD32E05CBA}" type="parTrans" cxnId="{F1B450EC-F83A-4474-BCAD-55B8F00BF5F2}">
      <dgm:prSet/>
      <dgm:spPr/>
      <dgm:t>
        <a:bodyPr/>
        <a:lstStyle/>
        <a:p>
          <a:endParaRPr lang="en-US" sz="1800"/>
        </a:p>
      </dgm:t>
    </dgm:pt>
    <dgm:pt modelId="{FC4FEF22-6666-44CA-AA83-A9ADFE050682}" type="sibTrans" cxnId="{F1B450EC-F83A-4474-BCAD-55B8F00BF5F2}">
      <dgm:prSet/>
      <dgm:spPr/>
      <dgm:t>
        <a:bodyPr/>
        <a:lstStyle/>
        <a:p>
          <a:endParaRPr lang="en-US" sz="1800"/>
        </a:p>
      </dgm:t>
    </dgm:pt>
    <dgm:pt modelId="{EADA10E3-92DD-324D-BA3F-45E775622B9E}">
      <dgm:prSet custT="1"/>
      <dgm:spPr/>
      <dgm:t>
        <a:bodyPr/>
        <a:lstStyle/>
        <a:p>
          <a:r>
            <a:rPr lang="en-US" sz="2400" spc="200">
              <a:latin typeface="TW Cen MT"/>
            </a:rPr>
            <a:t>Local Government Engagement</a:t>
          </a:r>
          <a:endParaRPr lang="en-GB" sz="2400"/>
        </a:p>
      </dgm:t>
    </dgm:pt>
    <dgm:pt modelId="{B28F6C76-5914-FE40-95A5-8F903D7FCF37}" type="parTrans" cxnId="{DE2A392E-17BE-4443-8149-44CB3ADA66B1}">
      <dgm:prSet/>
      <dgm:spPr/>
      <dgm:t>
        <a:bodyPr/>
        <a:lstStyle/>
        <a:p>
          <a:endParaRPr lang="en-GB" sz="1800"/>
        </a:p>
      </dgm:t>
    </dgm:pt>
    <dgm:pt modelId="{1E3252AC-DA2B-304B-A759-FE0CCE079FBE}" type="sibTrans" cxnId="{DE2A392E-17BE-4443-8149-44CB3ADA66B1}">
      <dgm:prSet/>
      <dgm:spPr/>
      <dgm:t>
        <a:bodyPr/>
        <a:lstStyle/>
        <a:p>
          <a:endParaRPr lang="en-GB" sz="1800"/>
        </a:p>
      </dgm:t>
    </dgm:pt>
    <dgm:pt modelId="{5CD7CB18-20EC-AA4B-AA5C-B4D5B6913556}">
      <dgm:prSet custT="1"/>
      <dgm:spPr/>
      <dgm:t>
        <a:bodyPr/>
        <a:lstStyle/>
        <a:p>
          <a:r>
            <a:rPr lang="en-GB" sz="2400"/>
            <a:t>Audience Engagement Exercise</a:t>
          </a:r>
        </a:p>
      </dgm:t>
    </dgm:pt>
    <dgm:pt modelId="{96C10035-5B07-F144-899C-4B06A31F9BFD}" type="parTrans" cxnId="{41F7BA1E-6FB0-5D48-A6D7-26D895813153}">
      <dgm:prSet/>
      <dgm:spPr/>
      <dgm:t>
        <a:bodyPr/>
        <a:lstStyle/>
        <a:p>
          <a:endParaRPr lang="en-GB" sz="1800"/>
        </a:p>
      </dgm:t>
    </dgm:pt>
    <dgm:pt modelId="{91DD7E5E-596E-1D40-B92A-174067F32D6B}" type="sibTrans" cxnId="{41F7BA1E-6FB0-5D48-A6D7-26D895813153}">
      <dgm:prSet/>
      <dgm:spPr/>
      <dgm:t>
        <a:bodyPr/>
        <a:lstStyle/>
        <a:p>
          <a:endParaRPr lang="en-GB" sz="1800"/>
        </a:p>
      </dgm:t>
    </dgm:pt>
    <dgm:pt modelId="{2838D1E6-B33E-4F02-B7FF-46F14BD10A50}">
      <dgm:prSet custT="1"/>
      <dgm:spPr/>
      <dgm:t>
        <a:bodyPr/>
        <a:lstStyle/>
        <a:p>
          <a:r>
            <a:rPr lang="en-US" sz="2400"/>
            <a:t>Direct Pay</a:t>
          </a:r>
          <a:endParaRPr lang="en-GB" sz="2400"/>
        </a:p>
      </dgm:t>
    </dgm:pt>
    <dgm:pt modelId="{3415DD49-52F7-4CF3-BE0E-9DADE9230DC6}" type="parTrans" cxnId="{0B0EF535-D532-4E54-9756-0352918DDB13}">
      <dgm:prSet/>
      <dgm:spPr/>
      <dgm:t>
        <a:bodyPr/>
        <a:lstStyle/>
        <a:p>
          <a:endParaRPr lang="en-US" sz="1800"/>
        </a:p>
      </dgm:t>
    </dgm:pt>
    <dgm:pt modelId="{6A4BD05C-08B4-4A10-9FF7-DC427FECE0DD}" type="sibTrans" cxnId="{0B0EF535-D532-4E54-9756-0352918DDB13}">
      <dgm:prSet/>
      <dgm:spPr/>
      <dgm:t>
        <a:bodyPr/>
        <a:lstStyle/>
        <a:p>
          <a:endParaRPr lang="en-US" sz="1800"/>
        </a:p>
      </dgm:t>
    </dgm:pt>
    <dgm:pt modelId="{53543EE5-53C4-43A3-965B-E423D8607CD7}">
      <dgm:prSet custT="1"/>
      <dgm:spPr/>
      <dgm:t>
        <a:bodyPr/>
        <a:lstStyle/>
        <a:p>
          <a:r>
            <a:rPr lang="en-GB" sz="2400" err="1"/>
            <a:t>GrantWell</a:t>
          </a:r>
          <a:r>
            <a:rPr lang="en-GB" sz="2400"/>
            <a:t>: Simplifying Federal Grant Application Processes with AI</a:t>
          </a:r>
        </a:p>
      </dgm:t>
    </dgm:pt>
    <dgm:pt modelId="{D26263FC-F6B2-40D1-AB33-CDBCACA85DEF}" type="parTrans" cxnId="{72007299-9E7C-44C5-B53A-30CDA8D85F45}">
      <dgm:prSet/>
      <dgm:spPr/>
      <dgm:t>
        <a:bodyPr/>
        <a:lstStyle/>
        <a:p>
          <a:endParaRPr lang="en-US" sz="1800"/>
        </a:p>
      </dgm:t>
    </dgm:pt>
    <dgm:pt modelId="{BDB64ACC-1CF0-4715-819F-08F2526B2428}" type="sibTrans" cxnId="{72007299-9E7C-44C5-B53A-30CDA8D85F45}">
      <dgm:prSet/>
      <dgm:spPr/>
      <dgm:t>
        <a:bodyPr/>
        <a:lstStyle/>
        <a:p>
          <a:endParaRPr lang="en-US" sz="1800"/>
        </a:p>
      </dgm:t>
    </dgm:pt>
    <dgm:pt modelId="{5F7411AA-BF88-4BD8-AE7B-13544A6FEDF7}" type="pres">
      <dgm:prSet presAssocID="{098DC64B-4E2D-44E2-9DF7-09484415FC99}" presName="vert0" presStyleCnt="0">
        <dgm:presLayoutVars>
          <dgm:dir/>
          <dgm:animOne val="branch"/>
          <dgm:animLvl val="lvl"/>
        </dgm:presLayoutVars>
      </dgm:prSet>
      <dgm:spPr/>
    </dgm:pt>
    <dgm:pt modelId="{6571B674-69EE-409B-914D-7D2EAE1473A3}" type="pres">
      <dgm:prSet presAssocID="{04480786-7A57-42F0-811C-D0F30D93C041}" presName="thickLine" presStyleLbl="alignNode1" presStyleIdx="0" presStyleCnt="9"/>
      <dgm:spPr/>
    </dgm:pt>
    <dgm:pt modelId="{99EF9E29-A0AC-48AA-976A-99EF82281E48}" type="pres">
      <dgm:prSet presAssocID="{04480786-7A57-42F0-811C-D0F30D93C041}" presName="horz1" presStyleCnt="0"/>
      <dgm:spPr/>
    </dgm:pt>
    <dgm:pt modelId="{033876F2-4573-48DE-B38C-14FA55582084}" type="pres">
      <dgm:prSet presAssocID="{04480786-7A57-42F0-811C-D0F30D93C041}" presName="tx1" presStyleLbl="revTx" presStyleIdx="0" presStyleCnt="9"/>
      <dgm:spPr/>
    </dgm:pt>
    <dgm:pt modelId="{45B45622-DFF6-4210-A419-E9AD0E21BB92}" type="pres">
      <dgm:prSet presAssocID="{04480786-7A57-42F0-811C-D0F30D93C041}" presName="vert1" presStyleCnt="0"/>
      <dgm:spPr/>
    </dgm:pt>
    <dgm:pt modelId="{5ADED652-3E0A-4D4C-BCAD-59477DBCEA60}" type="pres">
      <dgm:prSet presAssocID="{EADA10E3-92DD-324D-BA3F-45E775622B9E}" presName="thickLine" presStyleLbl="alignNode1" presStyleIdx="1" presStyleCnt="9"/>
      <dgm:spPr/>
    </dgm:pt>
    <dgm:pt modelId="{C7C62A17-F578-2846-916E-165231B7A2E8}" type="pres">
      <dgm:prSet presAssocID="{EADA10E3-92DD-324D-BA3F-45E775622B9E}" presName="horz1" presStyleCnt="0"/>
      <dgm:spPr/>
    </dgm:pt>
    <dgm:pt modelId="{EE9DE12F-2110-D447-95A9-FB79001D3523}" type="pres">
      <dgm:prSet presAssocID="{EADA10E3-92DD-324D-BA3F-45E775622B9E}" presName="tx1" presStyleLbl="revTx" presStyleIdx="1" presStyleCnt="9"/>
      <dgm:spPr/>
    </dgm:pt>
    <dgm:pt modelId="{315F2DBF-5DCE-144B-BC7D-88B0C80F1DF7}" type="pres">
      <dgm:prSet presAssocID="{EADA10E3-92DD-324D-BA3F-45E775622B9E}" presName="vert1" presStyleCnt="0"/>
      <dgm:spPr/>
    </dgm:pt>
    <dgm:pt modelId="{5EA078E5-D83B-4C7B-9388-D30175397E4B}" type="pres">
      <dgm:prSet presAssocID="{F9389673-3CE4-4756-A454-FD7F094BB1FA}" presName="thickLine" presStyleLbl="alignNode1" presStyleIdx="2" presStyleCnt="9"/>
      <dgm:spPr/>
    </dgm:pt>
    <dgm:pt modelId="{4DFCCA61-88AA-46A2-A7C6-26197BEFF600}" type="pres">
      <dgm:prSet presAssocID="{F9389673-3CE4-4756-A454-FD7F094BB1FA}" presName="horz1" presStyleCnt="0"/>
      <dgm:spPr/>
    </dgm:pt>
    <dgm:pt modelId="{5EFC1A20-8B95-442F-BAFF-F90F8F847D83}" type="pres">
      <dgm:prSet presAssocID="{F9389673-3CE4-4756-A454-FD7F094BB1FA}" presName="tx1" presStyleLbl="revTx" presStyleIdx="2" presStyleCnt="9"/>
      <dgm:spPr/>
    </dgm:pt>
    <dgm:pt modelId="{601AD9F4-D459-461A-B5F9-0A6CDDE2C74B}" type="pres">
      <dgm:prSet presAssocID="{F9389673-3CE4-4756-A454-FD7F094BB1FA}" presName="vert1" presStyleCnt="0"/>
      <dgm:spPr/>
    </dgm:pt>
    <dgm:pt modelId="{ADBEFBAA-1DC9-475B-9136-FA43407CC1CE}" type="pres">
      <dgm:prSet presAssocID="{0EC34654-142D-432D-8A16-20673E4380BB}" presName="thickLine" presStyleLbl="alignNode1" presStyleIdx="3" presStyleCnt="9"/>
      <dgm:spPr/>
    </dgm:pt>
    <dgm:pt modelId="{E39AE7A1-4983-4CCC-91F6-E7BC1A8EB0B4}" type="pres">
      <dgm:prSet presAssocID="{0EC34654-142D-432D-8A16-20673E4380BB}" presName="horz1" presStyleCnt="0"/>
      <dgm:spPr/>
    </dgm:pt>
    <dgm:pt modelId="{F0D216CE-DBBB-4015-94FA-0F2C9B1358A9}" type="pres">
      <dgm:prSet presAssocID="{0EC34654-142D-432D-8A16-20673E4380BB}" presName="tx1" presStyleLbl="revTx" presStyleIdx="3" presStyleCnt="9"/>
      <dgm:spPr/>
    </dgm:pt>
    <dgm:pt modelId="{F53F621B-A757-47A5-93B1-B8B83F750309}" type="pres">
      <dgm:prSet presAssocID="{0EC34654-142D-432D-8A16-20673E4380BB}" presName="vert1" presStyleCnt="0"/>
      <dgm:spPr/>
    </dgm:pt>
    <dgm:pt modelId="{DA940355-1F91-41FC-AB0C-B939F04CF7DC}" type="pres">
      <dgm:prSet presAssocID="{6FFA146C-84D5-4B6F-825E-B72737013D6D}" presName="thickLine" presStyleLbl="alignNode1" presStyleIdx="4" presStyleCnt="9"/>
      <dgm:spPr/>
    </dgm:pt>
    <dgm:pt modelId="{51FA6B31-984F-40EC-BFF3-68C3A50DB398}" type="pres">
      <dgm:prSet presAssocID="{6FFA146C-84D5-4B6F-825E-B72737013D6D}" presName="horz1" presStyleCnt="0"/>
      <dgm:spPr/>
    </dgm:pt>
    <dgm:pt modelId="{56BB8A6B-4C45-48D7-ACD7-EF00673E2F1F}" type="pres">
      <dgm:prSet presAssocID="{6FFA146C-84D5-4B6F-825E-B72737013D6D}" presName="tx1" presStyleLbl="revTx" presStyleIdx="4" presStyleCnt="9"/>
      <dgm:spPr/>
    </dgm:pt>
    <dgm:pt modelId="{B3B0789F-498D-444E-AA92-D08455D0D716}" type="pres">
      <dgm:prSet presAssocID="{6FFA146C-84D5-4B6F-825E-B72737013D6D}" presName="vert1" presStyleCnt="0"/>
      <dgm:spPr/>
    </dgm:pt>
    <dgm:pt modelId="{DCEBEB47-31FE-4FFE-A2E1-2EE1438E80EF}" type="pres">
      <dgm:prSet presAssocID="{2838D1E6-B33E-4F02-B7FF-46F14BD10A50}" presName="thickLine" presStyleLbl="alignNode1" presStyleIdx="5" presStyleCnt="9"/>
      <dgm:spPr/>
    </dgm:pt>
    <dgm:pt modelId="{77C7FF58-7B4F-446F-A001-761144E9EA50}" type="pres">
      <dgm:prSet presAssocID="{2838D1E6-B33E-4F02-B7FF-46F14BD10A50}" presName="horz1" presStyleCnt="0"/>
      <dgm:spPr/>
    </dgm:pt>
    <dgm:pt modelId="{3F54600F-BE1E-4B91-BE4F-AC824F342AAB}" type="pres">
      <dgm:prSet presAssocID="{2838D1E6-B33E-4F02-B7FF-46F14BD10A50}" presName="tx1" presStyleLbl="revTx" presStyleIdx="5" presStyleCnt="9"/>
      <dgm:spPr/>
    </dgm:pt>
    <dgm:pt modelId="{26DDCF8A-669E-4C2D-8268-883528E96DAE}" type="pres">
      <dgm:prSet presAssocID="{2838D1E6-B33E-4F02-B7FF-46F14BD10A50}" presName="vert1" presStyleCnt="0"/>
      <dgm:spPr/>
    </dgm:pt>
    <dgm:pt modelId="{E67B73E6-76EC-446A-A062-4CE8A9719B0F}" type="pres">
      <dgm:prSet presAssocID="{53543EE5-53C4-43A3-965B-E423D8607CD7}" presName="thickLine" presStyleLbl="alignNode1" presStyleIdx="6" presStyleCnt="9"/>
      <dgm:spPr/>
    </dgm:pt>
    <dgm:pt modelId="{DCC5BFD3-797E-4FB6-A12E-F2D8BF906427}" type="pres">
      <dgm:prSet presAssocID="{53543EE5-53C4-43A3-965B-E423D8607CD7}" presName="horz1" presStyleCnt="0"/>
      <dgm:spPr/>
    </dgm:pt>
    <dgm:pt modelId="{324C10E0-63CC-4FCF-ADE2-D0A8D34E41F4}" type="pres">
      <dgm:prSet presAssocID="{53543EE5-53C4-43A3-965B-E423D8607CD7}" presName="tx1" presStyleLbl="revTx" presStyleIdx="6" presStyleCnt="9"/>
      <dgm:spPr/>
    </dgm:pt>
    <dgm:pt modelId="{0E0B7BCD-9A4A-46C5-93C0-FE4A6AED3356}" type="pres">
      <dgm:prSet presAssocID="{53543EE5-53C4-43A3-965B-E423D8607CD7}" presName="vert1" presStyleCnt="0"/>
      <dgm:spPr/>
    </dgm:pt>
    <dgm:pt modelId="{3F1E35BF-8F97-D548-B80A-A7F4A98E267F}" type="pres">
      <dgm:prSet presAssocID="{5CD7CB18-20EC-AA4B-AA5C-B4D5B6913556}" presName="thickLine" presStyleLbl="alignNode1" presStyleIdx="7" presStyleCnt="9"/>
      <dgm:spPr/>
    </dgm:pt>
    <dgm:pt modelId="{1F6F8653-CD0A-BA4C-8596-D23D8D204C23}" type="pres">
      <dgm:prSet presAssocID="{5CD7CB18-20EC-AA4B-AA5C-B4D5B6913556}" presName="horz1" presStyleCnt="0"/>
      <dgm:spPr/>
    </dgm:pt>
    <dgm:pt modelId="{4A3EA04C-AEB2-B541-AC28-C5AAD7F954D2}" type="pres">
      <dgm:prSet presAssocID="{5CD7CB18-20EC-AA4B-AA5C-B4D5B6913556}" presName="tx1" presStyleLbl="revTx" presStyleIdx="7" presStyleCnt="9"/>
      <dgm:spPr/>
    </dgm:pt>
    <dgm:pt modelId="{1B6C88B8-0442-1049-A356-52E64CFF766F}" type="pres">
      <dgm:prSet presAssocID="{5CD7CB18-20EC-AA4B-AA5C-B4D5B6913556}" presName="vert1" presStyleCnt="0"/>
      <dgm:spPr/>
    </dgm:pt>
    <dgm:pt modelId="{07309E4B-D895-4811-8C7D-BBE793C6B3C3}" type="pres">
      <dgm:prSet presAssocID="{9CD8F89A-A6B3-4175-9BCB-FB8D426F9326}" presName="thickLine" presStyleLbl="alignNode1" presStyleIdx="8" presStyleCnt="9"/>
      <dgm:spPr/>
    </dgm:pt>
    <dgm:pt modelId="{93CE2652-4237-4B63-9633-CBC55F81E41B}" type="pres">
      <dgm:prSet presAssocID="{9CD8F89A-A6B3-4175-9BCB-FB8D426F9326}" presName="horz1" presStyleCnt="0"/>
      <dgm:spPr/>
    </dgm:pt>
    <dgm:pt modelId="{71F24777-2AA6-456F-B41E-CE00E6F86F5E}" type="pres">
      <dgm:prSet presAssocID="{9CD8F89A-A6B3-4175-9BCB-FB8D426F9326}" presName="tx1" presStyleLbl="revTx" presStyleIdx="8" presStyleCnt="9"/>
      <dgm:spPr/>
    </dgm:pt>
    <dgm:pt modelId="{F28CEE34-5DFB-4C22-9775-D9D6A4D0B4EA}" type="pres">
      <dgm:prSet presAssocID="{9CD8F89A-A6B3-4175-9BCB-FB8D426F9326}" presName="vert1" presStyleCnt="0"/>
      <dgm:spPr/>
    </dgm:pt>
  </dgm:ptLst>
  <dgm:cxnLst>
    <dgm:cxn modelId="{A231580D-C10F-4E8A-B75B-1BD6FDD2BD18}" srcId="{098DC64B-4E2D-44E2-9DF7-09484415FC99}" destId="{04480786-7A57-42F0-811C-D0F30D93C041}" srcOrd="0" destOrd="0" parTransId="{4EEEDFA1-58BB-4C7E-8289-81BA44E808CB}" sibTransId="{D2978AD3-37C2-403B-B3A1-A78E47E52F46}"/>
    <dgm:cxn modelId="{09978411-B32F-DE4A-883C-5A577402CD89}" type="presOf" srcId="{5CD7CB18-20EC-AA4B-AA5C-B4D5B6913556}" destId="{4A3EA04C-AEB2-B541-AC28-C5AAD7F954D2}" srcOrd="0" destOrd="0" presId="urn:microsoft.com/office/officeart/2008/layout/LinedList"/>
    <dgm:cxn modelId="{0C45601D-5CD2-4AD5-8091-AB3A29CBF03B}" type="presOf" srcId="{0EC34654-142D-432D-8A16-20673E4380BB}" destId="{F0D216CE-DBBB-4015-94FA-0F2C9B1358A9}" srcOrd="0" destOrd="0" presId="urn:microsoft.com/office/officeart/2008/layout/LinedList"/>
    <dgm:cxn modelId="{41F7BA1E-6FB0-5D48-A6D7-26D895813153}" srcId="{098DC64B-4E2D-44E2-9DF7-09484415FC99}" destId="{5CD7CB18-20EC-AA4B-AA5C-B4D5B6913556}" srcOrd="7" destOrd="0" parTransId="{96C10035-5B07-F144-899C-4B06A31F9BFD}" sibTransId="{91DD7E5E-596E-1D40-B92A-174067F32D6B}"/>
    <dgm:cxn modelId="{510E2924-090E-45F3-B27D-C84FA3912E88}" type="presOf" srcId="{2838D1E6-B33E-4F02-B7FF-46F14BD10A50}" destId="{3F54600F-BE1E-4B91-BE4F-AC824F342AAB}" srcOrd="0" destOrd="0" presId="urn:microsoft.com/office/officeart/2008/layout/LinedList"/>
    <dgm:cxn modelId="{6762F825-E989-4956-B2F2-2B1CE8766227}" srcId="{098DC64B-4E2D-44E2-9DF7-09484415FC99}" destId="{9CD8F89A-A6B3-4175-9BCB-FB8D426F9326}" srcOrd="8" destOrd="0" parTransId="{4B271377-646B-4282-970C-70F045735C0C}" sibTransId="{8D1D619F-145B-476A-BED9-4B5C9DA18B71}"/>
    <dgm:cxn modelId="{D68DB329-6D97-410A-8F24-65454EB2CC10}" srcId="{098DC64B-4E2D-44E2-9DF7-09484415FC99}" destId="{0EC34654-142D-432D-8A16-20673E4380BB}" srcOrd="3" destOrd="0" parTransId="{FB179382-DB9E-43C0-A562-75C96B8C5A4F}" sibTransId="{EC801795-9464-4AD3-84BB-50EF5AE10191}"/>
    <dgm:cxn modelId="{DE2A392E-17BE-4443-8149-44CB3ADA66B1}" srcId="{098DC64B-4E2D-44E2-9DF7-09484415FC99}" destId="{EADA10E3-92DD-324D-BA3F-45E775622B9E}" srcOrd="1" destOrd="0" parTransId="{B28F6C76-5914-FE40-95A5-8F903D7FCF37}" sibTransId="{1E3252AC-DA2B-304B-A759-FE0CCE079FBE}"/>
    <dgm:cxn modelId="{0B0EF535-D532-4E54-9756-0352918DDB13}" srcId="{098DC64B-4E2D-44E2-9DF7-09484415FC99}" destId="{2838D1E6-B33E-4F02-B7FF-46F14BD10A50}" srcOrd="5" destOrd="0" parTransId="{3415DD49-52F7-4CF3-BE0E-9DADE9230DC6}" sibTransId="{6A4BD05C-08B4-4A10-9FF7-DC427FECE0DD}"/>
    <dgm:cxn modelId="{A3BDF95F-4208-4547-9D10-8A21CAA4D71A}" type="presOf" srcId="{EADA10E3-92DD-324D-BA3F-45E775622B9E}" destId="{EE9DE12F-2110-D447-95A9-FB79001D3523}" srcOrd="0" destOrd="0" presId="urn:microsoft.com/office/officeart/2008/layout/LinedList"/>
    <dgm:cxn modelId="{CD7F7E53-A68B-45B1-A791-8A72DDD865BF}" type="presOf" srcId="{9CD8F89A-A6B3-4175-9BCB-FB8D426F9326}" destId="{71F24777-2AA6-456F-B41E-CE00E6F86F5E}" srcOrd="0" destOrd="0" presId="urn:microsoft.com/office/officeart/2008/layout/LinedList"/>
    <dgm:cxn modelId="{B6DACE91-8115-4A61-94DE-228CF8F46329}" type="presOf" srcId="{F9389673-3CE4-4756-A454-FD7F094BB1FA}" destId="{5EFC1A20-8B95-442F-BAFF-F90F8F847D83}" srcOrd="0" destOrd="0" presId="urn:microsoft.com/office/officeart/2008/layout/LinedList"/>
    <dgm:cxn modelId="{ADB7C192-89DC-4A74-9246-E3362F43FD19}" type="presOf" srcId="{04480786-7A57-42F0-811C-D0F30D93C041}" destId="{033876F2-4573-48DE-B38C-14FA55582084}" srcOrd="0" destOrd="0" presId="urn:microsoft.com/office/officeart/2008/layout/LinedList"/>
    <dgm:cxn modelId="{72007299-9E7C-44C5-B53A-30CDA8D85F45}" srcId="{098DC64B-4E2D-44E2-9DF7-09484415FC99}" destId="{53543EE5-53C4-43A3-965B-E423D8607CD7}" srcOrd="6" destOrd="0" parTransId="{D26263FC-F6B2-40D1-AB33-CDBCACA85DEF}" sibTransId="{BDB64ACC-1CF0-4715-819F-08F2526B2428}"/>
    <dgm:cxn modelId="{1A21BCB6-EF5E-491F-A983-90E9FD537A51}" srcId="{098DC64B-4E2D-44E2-9DF7-09484415FC99}" destId="{F9389673-3CE4-4756-A454-FD7F094BB1FA}" srcOrd="2" destOrd="0" parTransId="{89BC19D7-C4DE-42E0-9082-DB0401E2A15B}" sibTransId="{42520116-B6A3-476D-8AA5-F55B2CF7AC5E}"/>
    <dgm:cxn modelId="{76E272BF-2791-4C2E-AFF1-A3ADDC33DC3D}" type="presOf" srcId="{6FFA146C-84D5-4B6F-825E-B72737013D6D}" destId="{56BB8A6B-4C45-48D7-ACD7-EF00673E2F1F}" srcOrd="0" destOrd="0" presId="urn:microsoft.com/office/officeart/2008/layout/LinedList"/>
    <dgm:cxn modelId="{EBD4CCC5-F445-4509-9E96-CBF1FDAC623A}" type="presOf" srcId="{098DC64B-4E2D-44E2-9DF7-09484415FC99}" destId="{5F7411AA-BF88-4BD8-AE7B-13544A6FEDF7}" srcOrd="0" destOrd="0" presId="urn:microsoft.com/office/officeart/2008/layout/LinedList"/>
    <dgm:cxn modelId="{EB60D6DF-77C8-424B-A82C-16F3F5348C77}" type="presOf" srcId="{53543EE5-53C4-43A3-965B-E423D8607CD7}" destId="{324C10E0-63CC-4FCF-ADE2-D0A8D34E41F4}" srcOrd="0" destOrd="0" presId="urn:microsoft.com/office/officeart/2008/layout/LinedList"/>
    <dgm:cxn modelId="{F1B450EC-F83A-4474-BCAD-55B8F00BF5F2}" srcId="{098DC64B-4E2D-44E2-9DF7-09484415FC99}" destId="{6FFA146C-84D5-4B6F-825E-B72737013D6D}" srcOrd="4" destOrd="0" parTransId="{7844B180-640E-4273-A9E7-2CDD32E05CBA}" sibTransId="{FC4FEF22-6666-44CA-AA83-A9ADFE050682}"/>
    <dgm:cxn modelId="{812015E5-C4F5-4C16-BCF6-4B0C336313E8}" type="presParOf" srcId="{5F7411AA-BF88-4BD8-AE7B-13544A6FEDF7}" destId="{6571B674-69EE-409B-914D-7D2EAE1473A3}" srcOrd="0" destOrd="0" presId="urn:microsoft.com/office/officeart/2008/layout/LinedList"/>
    <dgm:cxn modelId="{3F65A656-63FC-4C98-9B80-CB2ADBB0E78B}" type="presParOf" srcId="{5F7411AA-BF88-4BD8-AE7B-13544A6FEDF7}" destId="{99EF9E29-A0AC-48AA-976A-99EF82281E48}" srcOrd="1" destOrd="0" presId="urn:microsoft.com/office/officeart/2008/layout/LinedList"/>
    <dgm:cxn modelId="{EC2C1A8A-7E95-407B-9577-1377F327AA0F}" type="presParOf" srcId="{99EF9E29-A0AC-48AA-976A-99EF82281E48}" destId="{033876F2-4573-48DE-B38C-14FA55582084}" srcOrd="0" destOrd="0" presId="urn:microsoft.com/office/officeart/2008/layout/LinedList"/>
    <dgm:cxn modelId="{D1587287-2FB5-4176-9221-2F0C676823CF}" type="presParOf" srcId="{99EF9E29-A0AC-48AA-976A-99EF82281E48}" destId="{45B45622-DFF6-4210-A419-E9AD0E21BB92}" srcOrd="1" destOrd="0" presId="urn:microsoft.com/office/officeart/2008/layout/LinedList"/>
    <dgm:cxn modelId="{DAE9AAA1-81E2-754E-B750-2E6C24641D2A}" type="presParOf" srcId="{5F7411AA-BF88-4BD8-AE7B-13544A6FEDF7}" destId="{5ADED652-3E0A-4D4C-BCAD-59477DBCEA60}" srcOrd="2" destOrd="0" presId="urn:microsoft.com/office/officeart/2008/layout/LinedList"/>
    <dgm:cxn modelId="{F0238DA4-902E-4D41-BE7F-6A5A6B3896F6}" type="presParOf" srcId="{5F7411AA-BF88-4BD8-AE7B-13544A6FEDF7}" destId="{C7C62A17-F578-2846-916E-165231B7A2E8}" srcOrd="3" destOrd="0" presId="urn:microsoft.com/office/officeart/2008/layout/LinedList"/>
    <dgm:cxn modelId="{BCC378D7-0EAE-D244-912F-F4D3B7F27260}" type="presParOf" srcId="{C7C62A17-F578-2846-916E-165231B7A2E8}" destId="{EE9DE12F-2110-D447-95A9-FB79001D3523}" srcOrd="0" destOrd="0" presId="urn:microsoft.com/office/officeart/2008/layout/LinedList"/>
    <dgm:cxn modelId="{E576FDAF-A813-354E-8017-1FF662DD4835}" type="presParOf" srcId="{C7C62A17-F578-2846-916E-165231B7A2E8}" destId="{315F2DBF-5DCE-144B-BC7D-88B0C80F1DF7}" srcOrd="1" destOrd="0" presId="urn:microsoft.com/office/officeart/2008/layout/LinedList"/>
    <dgm:cxn modelId="{DF7450E6-C2E1-4E61-8AA0-D615ED1F43B5}" type="presParOf" srcId="{5F7411AA-BF88-4BD8-AE7B-13544A6FEDF7}" destId="{5EA078E5-D83B-4C7B-9388-D30175397E4B}" srcOrd="4" destOrd="0" presId="urn:microsoft.com/office/officeart/2008/layout/LinedList"/>
    <dgm:cxn modelId="{08653764-35DF-4BBF-9ED6-D32C0EAD729E}" type="presParOf" srcId="{5F7411AA-BF88-4BD8-AE7B-13544A6FEDF7}" destId="{4DFCCA61-88AA-46A2-A7C6-26197BEFF600}" srcOrd="5" destOrd="0" presId="urn:microsoft.com/office/officeart/2008/layout/LinedList"/>
    <dgm:cxn modelId="{4FDC48EF-3FB4-441E-9CB9-7AE5FD903C05}" type="presParOf" srcId="{4DFCCA61-88AA-46A2-A7C6-26197BEFF600}" destId="{5EFC1A20-8B95-442F-BAFF-F90F8F847D83}" srcOrd="0" destOrd="0" presId="urn:microsoft.com/office/officeart/2008/layout/LinedList"/>
    <dgm:cxn modelId="{2AD3C70E-40EC-4013-ADF4-5014C09DCA65}" type="presParOf" srcId="{4DFCCA61-88AA-46A2-A7C6-26197BEFF600}" destId="{601AD9F4-D459-461A-B5F9-0A6CDDE2C74B}" srcOrd="1" destOrd="0" presId="urn:microsoft.com/office/officeart/2008/layout/LinedList"/>
    <dgm:cxn modelId="{B85A7E28-5BF5-4CBB-956E-1062FACEABB8}" type="presParOf" srcId="{5F7411AA-BF88-4BD8-AE7B-13544A6FEDF7}" destId="{ADBEFBAA-1DC9-475B-9136-FA43407CC1CE}" srcOrd="6" destOrd="0" presId="urn:microsoft.com/office/officeart/2008/layout/LinedList"/>
    <dgm:cxn modelId="{5BA07BB8-06A1-4FC3-B238-D3235A814BF3}" type="presParOf" srcId="{5F7411AA-BF88-4BD8-AE7B-13544A6FEDF7}" destId="{E39AE7A1-4983-4CCC-91F6-E7BC1A8EB0B4}" srcOrd="7" destOrd="0" presId="urn:microsoft.com/office/officeart/2008/layout/LinedList"/>
    <dgm:cxn modelId="{C7E22CCB-D9C8-41D5-BDBA-8AF044215C3B}" type="presParOf" srcId="{E39AE7A1-4983-4CCC-91F6-E7BC1A8EB0B4}" destId="{F0D216CE-DBBB-4015-94FA-0F2C9B1358A9}" srcOrd="0" destOrd="0" presId="urn:microsoft.com/office/officeart/2008/layout/LinedList"/>
    <dgm:cxn modelId="{557DA44A-A409-4D8E-8415-1E8E89ADBC7D}" type="presParOf" srcId="{E39AE7A1-4983-4CCC-91F6-E7BC1A8EB0B4}" destId="{F53F621B-A757-47A5-93B1-B8B83F750309}" srcOrd="1" destOrd="0" presId="urn:microsoft.com/office/officeart/2008/layout/LinedList"/>
    <dgm:cxn modelId="{D7DCD055-B6F7-4915-9C96-7DFB5C62C6BF}" type="presParOf" srcId="{5F7411AA-BF88-4BD8-AE7B-13544A6FEDF7}" destId="{DA940355-1F91-41FC-AB0C-B939F04CF7DC}" srcOrd="8" destOrd="0" presId="urn:microsoft.com/office/officeart/2008/layout/LinedList"/>
    <dgm:cxn modelId="{E054DFC7-1AB4-4931-8F93-140E6661EC77}" type="presParOf" srcId="{5F7411AA-BF88-4BD8-AE7B-13544A6FEDF7}" destId="{51FA6B31-984F-40EC-BFF3-68C3A50DB398}" srcOrd="9" destOrd="0" presId="urn:microsoft.com/office/officeart/2008/layout/LinedList"/>
    <dgm:cxn modelId="{D14988EB-CDDD-426B-B029-E72627D822F3}" type="presParOf" srcId="{51FA6B31-984F-40EC-BFF3-68C3A50DB398}" destId="{56BB8A6B-4C45-48D7-ACD7-EF00673E2F1F}" srcOrd="0" destOrd="0" presId="urn:microsoft.com/office/officeart/2008/layout/LinedList"/>
    <dgm:cxn modelId="{5F1B84E1-3843-4928-AD96-29A1BEB3EC46}" type="presParOf" srcId="{51FA6B31-984F-40EC-BFF3-68C3A50DB398}" destId="{B3B0789F-498D-444E-AA92-D08455D0D716}" srcOrd="1" destOrd="0" presId="urn:microsoft.com/office/officeart/2008/layout/LinedList"/>
    <dgm:cxn modelId="{D6505501-B8BB-40EC-BD50-9667E3FB7EE0}" type="presParOf" srcId="{5F7411AA-BF88-4BD8-AE7B-13544A6FEDF7}" destId="{DCEBEB47-31FE-4FFE-A2E1-2EE1438E80EF}" srcOrd="10" destOrd="0" presId="urn:microsoft.com/office/officeart/2008/layout/LinedList"/>
    <dgm:cxn modelId="{3915DF5D-6703-4DC3-A66C-7D19B01C7E3E}" type="presParOf" srcId="{5F7411AA-BF88-4BD8-AE7B-13544A6FEDF7}" destId="{77C7FF58-7B4F-446F-A001-761144E9EA50}" srcOrd="11" destOrd="0" presId="urn:microsoft.com/office/officeart/2008/layout/LinedList"/>
    <dgm:cxn modelId="{1C275684-B47B-492B-95E4-16B586E8A133}" type="presParOf" srcId="{77C7FF58-7B4F-446F-A001-761144E9EA50}" destId="{3F54600F-BE1E-4B91-BE4F-AC824F342AAB}" srcOrd="0" destOrd="0" presId="urn:microsoft.com/office/officeart/2008/layout/LinedList"/>
    <dgm:cxn modelId="{4152CB3E-A9EB-4A98-A7E1-78C8D026B187}" type="presParOf" srcId="{77C7FF58-7B4F-446F-A001-761144E9EA50}" destId="{26DDCF8A-669E-4C2D-8268-883528E96DAE}" srcOrd="1" destOrd="0" presId="urn:microsoft.com/office/officeart/2008/layout/LinedList"/>
    <dgm:cxn modelId="{25A616B5-E5E7-455D-85C8-1160F7D938B1}" type="presParOf" srcId="{5F7411AA-BF88-4BD8-AE7B-13544A6FEDF7}" destId="{E67B73E6-76EC-446A-A062-4CE8A9719B0F}" srcOrd="12" destOrd="0" presId="urn:microsoft.com/office/officeart/2008/layout/LinedList"/>
    <dgm:cxn modelId="{A775B1D3-DFC6-4857-BE79-A5E9250D63FC}" type="presParOf" srcId="{5F7411AA-BF88-4BD8-AE7B-13544A6FEDF7}" destId="{DCC5BFD3-797E-4FB6-A12E-F2D8BF906427}" srcOrd="13" destOrd="0" presId="urn:microsoft.com/office/officeart/2008/layout/LinedList"/>
    <dgm:cxn modelId="{43644790-81C4-4C3C-BB72-C1B15A767AF6}" type="presParOf" srcId="{DCC5BFD3-797E-4FB6-A12E-F2D8BF906427}" destId="{324C10E0-63CC-4FCF-ADE2-D0A8D34E41F4}" srcOrd="0" destOrd="0" presId="urn:microsoft.com/office/officeart/2008/layout/LinedList"/>
    <dgm:cxn modelId="{C9ACD3AC-FEBB-432C-B7C2-F651B834437B}" type="presParOf" srcId="{DCC5BFD3-797E-4FB6-A12E-F2D8BF906427}" destId="{0E0B7BCD-9A4A-46C5-93C0-FE4A6AED3356}" srcOrd="1" destOrd="0" presId="urn:microsoft.com/office/officeart/2008/layout/LinedList"/>
    <dgm:cxn modelId="{4BC22E48-4A81-E440-93C3-C19DD8349A81}" type="presParOf" srcId="{5F7411AA-BF88-4BD8-AE7B-13544A6FEDF7}" destId="{3F1E35BF-8F97-D548-B80A-A7F4A98E267F}" srcOrd="14" destOrd="0" presId="urn:microsoft.com/office/officeart/2008/layout/LinedList"/>
    <dgm:cxn modelId="{9E490D99-B08A-1340-8332-AAE45AD205DF}" type="presParOf" srcId="{5F7411AA-BF88-4BD8-AE7B-13544A6FEDF7}" destId="{1F6F8653-CD0A-BA4C-8596-D23D8D204C23}" srcOrd="15" destOrd="0" presId="urn:microsoft.com/office/officeart/2008/layout/LinedList"/>
    <dgm:cxn modelId="{D7109122-9944-A447-A6A9-3FE99FABBAB9}" type="presParOf" srcId="{1F6F8653-CD0A-BA4C-8596-D23D8D204C23}" destId="{4A3EA04C-AEB2-B541-AC28-C5AAD7F954D2}" srcOrd="0" destOrd="0" presId="urn:microsoft.com/office/officeart/2008/layout/LinedList"/>
    <dgm:cxn modelId="{C3EA8AD6-A986-884B-8895-8438C525A7FA}" type="presParOf" srcId="{1F6F8653-CD0A-BA4C-8596-D23D8D204C23}" destId="{1B6C88B8-0442-1049-A356-52E64CFF766F}" srcOrd="1" destOrd="0" presId="urn:microsoft.com/office/officeart/2008/layout/LinedList"/>
    <dgm:cxn modelId="{39B95567-6439-4115-B1B1-A80FAE3707B2}" type="presParOf" srcId="{5F7411AA-BF88-4BD8-AE7B-13544A6FEDF7}" destId="{07309E4B-D895-4811-8C7D-BBE793C6B3C3}" srcOrd="16" destOrd="0" presId="urn:microsoft.com/office/officeart/2008/layout/LinedList"/>
    <dgm:cxn modelId="{EA6F02F8-5BD1-4C8F-BB86-FFE9C2D7DEE7}" type="presParOf" srcId="{5F7411AA-BF88-4BD8-AE7B-13544A6FEDF7}" destId="{93CE2652-4237-4B63-9633-CBC55F81E41B}" srcOrd="17" destOrd="0" presId="urn:microsoft.com/office/officeart/2008/layout/LinedList"/>
    <dgm:cxn modelId="{082ACC9F-E758-4F4E-9740-4A1095AA2F35}" type="presParOf" srcId="{93CE2652-4237-4B63-9633-CBC55F81E41B}" destId="{71F24777-2AA6-456F-B41E-CE00E6F86F5E}" srcOrd="0" destOrd="0" presId="urn:microsoft.com/office/officeart/2008/layout/LinedList"/>
    <dgm:cxn modelId="{05E4AA62-3604-482C-9328-DD40BAFEDE64}" type="presParOf" srcId="{93CE2652-4237-4B63-9633-CBC55F81E41B}" destId="{F28CEE34-5DFB-4C22-9775-D9D6A4D0B4EA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E43AC7-173D-456B-AA05-BC2BCC031A9F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D310FC57-F43C-4E2C-9B6D-9DC71D95C4F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Leading bi-weekly meetings of the interagency Advisory Council on Federal Funds and Infrastructure</a:t>
          </a:r>
          <a:endParaRPr lang="en-US" sz="1600" b="1"/>
        </a:p>
      </dgm:t>
    </dgm:pt>
    <dgm:pt modelId="{0E5D1605-1CFC-43E5-9494-6059296171F1}" type="parTrans" cxnId="{C6D3471D-2A4F-4F81-B30F-AEA358F90A79}">
      <dgm:prSet/>
      <dgm:spPr/>
      <dgm:t>
        <a:bodyPr/>
        <a:lstStyle/>
        <a:p>
          <a:endParaRPr lang="en-US"/>
        </a:p>
      </dgm:t>
    </dgm:pt>
    <dgm:pt modelId="{BBD1174B-380A-46A3-BB91-AF4D4C8C829A}" type="sibTrans" cxnId="{C6D3471D-2A4F-4F81-B30F-AEA358F90A79}">
      <dgm:prSet/>
      <dgm:spPr/>
      <dgm:t>
        <a:bodyPr/>
        <a:lstStyle/>
        <a:p>
          <a:endParaRPr lang="en-US"/>
        </a:p>
      </dgm:t>
    </dgm:pt>
    <dgm:pt modelId="{645D015E-3619-4B81-950F-1C544B66009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 i="0"/>
            <a:t>Identifying and tracking key federal funding opportunities </a:t>
          </a:r>
          <a:r>
            <a:rPr lang="en-US" sz="1600" b="1"/>
            <a:t>and Massachusetts applications through the State Clearinghouse</a:t>
          </a:r>
          <a:endParaRPr lang="en-US" sz="1600"/>
        </a:p>
      </dgm:t>
    </dgm:pt>
    <dgm:pt modelId="{F3311785-0947-4D54-8B94-64CA474DAD91}" type="parTrans" cxnId="{D1C6AA23-A736-4E26-8749-FDCC29458FB9}">
      <dgm:prSet/>
      <dgm:spPr/>
      <dgm:t>
        <a:bodyPr/>
        <a:lstStyle/>
        <a:p>
          <a:endParaRPr lang="en-US"/>
        </a:p>
      </dgm:t>
    </dgm:pt>
    <dgm:pt modelId="{B48388A5-17F9-4520-9B6E-350D82B6B47E}" type="sibTrans" cxnId="{D1C6AA23-A736-4E26-8749-FDCC29458FB9}">
      <dgm:prSet/>
      <dgm:spPr/>
      <dgm:t>
        <a:bodyPr/>
        <a:lstStyle/>
        <a:p>
          <a:endParaRPr lang="en-US"/>
        </a:p>
      </dgm:t>
    </dgm:pt>
    <dgm:pt modelId="{86F5EE8F-A5A3-4CF1-9857-3D90C2A6977D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Implementing the Federal Match legislation (</a:t>
          </a:r>
          <a:r>
            <a:rPr lang="en-US" sz="1600" b="1" i="1"/>
            <a:t>Chapter 214 of the Acts of 2024)</a:t>
          </a:r>
          <a:endParaRPr lang="en-US" sz="1600" b="1"/>
        </a:p>
      </dgm:t>
    </dgm:pt>
    <dgm:pt modelId="{63B5BC1E-BA1A-43C9-AD52-9D99D747CC5F}" type="parTrans" cxnId="{55D36FA9-47B9-4FB7-9D87-815130DE10B4}">
      <dgm:prSet/>
      <dgm:spPr/>
      <dgm:t>
        <a:bodyPr/>
        <a:lstStyle/>
        <a:p>
          <a:endParaRPr lang="en-US"/>
        </a:p>
      </dgm:t>
    </dgm:pt>
    <dgm:pt modelId="{38F48130-8FE7-484D-8F12-95980384125D}" type="sibTrans" cxnId="{55D36FA9-47B9-4FB7-9D87-815130DE10B4}">
      <dgm:prSet/>
      <dgm:spPr/>
      <dgm:t>
        <a:bodyPr/>
        <a:lstStyle/>
        <a:p>
          <a:endParaRPr lang="en-US"/>
        </a:p>
      </dgm:t>
    </dgm:pt>
    <dgm:pt modelId="{7CE94679-2E84-4BAD-AB15-EB3F167E6A4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600" b="1"/>
            <a:t>Leading the Massachusetts Federal Funds Partnership and other meetings to support local governments in their applications for federal funding</a:t>
          </a:r>
        </a:p>
      </dgm:t>
    </dgm:pt>
    <dgm:pt modelId="{700FB485-963E-4EFD-900F-1742F5BCE2D2}" type="parTrans" cxnId="{340918A1-2A97-4CC7-9C47-1772ADE22805}">
      <dgm:prSet/>
      <dgm:spPr/>
      <dgm:t>
        <a:bodyPr/>
        <a:lstStyle/>
        <a:p>
          <a:endParaRPr lang="en-US"/>
        </a:p>
      </dgm:t>
    </dgm:pt>
    <dgm:pt modelId="{39C7C336-98CB-4C86-AC99-9EAF4D4F2ED6}" type="sibTrans" cxnId="{340918A1-2A97-4CC7-9C47-1772ADE22805}">
      <dgm:prSet/>
      <dgm:spPr/>
      <dgm:t>
        <a:bodyPr/>
        <a:lstStyle/>
        <a:p>
          <a:endParaRPr lang="en-US"/>
        </a:p>
      </dgm:t>
    </dgm:pt>
    <dgm:pt modelId="{3CD48AE7-D4F6-4B3D-B68E-EF7140BC6B9E}" type="pres">
      <dgm:prSet presAssocID="{31E43AC7-173D-456B-AA05-BC2BCC031A9F}" presName="root" presStyleCnt="0">
        <dgm:presLayoutVars>
          <dgm:dir/>
          <dgm:resizeHandles val="exact"/>
        </dgm:presLayoutVars>
      </dgm:prSet>
      <dgm:spPr/>
    </dgm:pt>
    <dgm:pt modelId="{0DD012EC-9339-4144-9F8C-DEE7EE016DE0}" type="pres">
      <dgm:prSet presAssocID="{645D015E-3619-4B81-950F-1C544B660094}" presName="compNode" presStyleCnt="0"/>
      <dgm:spPr/>
    </dgm:pt>
    <dgm:pt modelId="{E14C0CFE-CB0A-44B3-89C8-D749A9E1B18C}" type="pres">
      <dgm:prSet presAssocID="{645D015E-3619-4B81-950F-1C544B660094}" presName="bgRect" presStyleLbl="bgShp" presStyleIdx="0" presStyleCnt="4" custLinFactNeighborX="3970" custLinFactNeighborY="-811"/>
      <dgm:spPr/>
    </dgm:pt>
    <dgm:pt modelId="{D88E8319-B6D5-49D3-B540-92B6D9A64BEC}" type="pres">
      <dgm:prSet presAssocID="{645D015E-3619-4B81-950F-1C544B66009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ckbox Checked with solid fill"/>
        </a:ext>
      </dgm:extLst>
    </dgm:pt>
    <dgm:pt modelId="{41321DAC-A7EE-4AE2-9DC7-D1923CA5030E}" type="pres">
      <dgm:prSet presAssocID="{645D015E-3619-4B81-950F-1C544B660094}" presName="spaceRect" presStyleCnt="0"/>
      <dgm:spPr/>
    </dgm:pt>
    <dgm:pt modelId="{3A883FDD-2842-4E49-87E1-009417EEDE74}" type="pres">
      <dgm:prSet presAssocID="{645D015E-3619-4B81-950F-1C544B660094}" presName="parTx" presStyleLbl="revTx" presStyleIdx="0" presStyleCnt="4">
        <dgm:presLayoutVars>
          <dgm:chMax val="0"/>
          <dgm:chPref val="0"/>
        </dgm:presLayoutVars>
      </dgm:prSet>
      <dgm:spPr/>
    </dgm:pt>
    <dgm:pt modelId="{92DE347A-F440-4EA0-A19A-15ED32058C42}" type="pres">
      <dgm:prSet presAssocID="{B48388A5-17F9-4520-9B6E-350D82B6B47E}" presName="sibTrans" presStyleCnt="0"/>
      <dgm:spPr/>
    </dgm:pt>
    <dgm:pt modelId="{29446BF5-4985-418C-942C-C8627D199049}" type="pres">
      <dgm:prSet presAssocID="{D310FC57-F43C-4E2C-9B6D-9DC71D95C4F8}" presName="compNode" presStyleCnt="0"/>
      <dgm:spPr/>
    </dgm:pt>
    <dgm:pt modelId="{B8DB16D8-4226-454D-9A09-BB040DD2E36C}" type="pres">
      <dgm:prSet presAssocID="{D310FC57-F43C-4E2C-9B6D-9DC71D95C4F8}" presName="bgRect" presStyleLbl="bgShp" presStyleIdx="1" presStyleCnt="4"/>
      <dgm:spPr/>
    </dgm:pt>
    <dgm:pt modelId="{564C5C8F-9437-4747-BE47-8A248FCF0411}" type="pres">
      <dgm:prSet presAssocID="{D310FC57-F43C-4E2C-9B6D-9DC71D95C4F8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eting with solid fill"/>
        </a:ext>
      </dgm:extLst>
    </dgm:pt>
    <dgm:pt modelId="{60D04270-229F-4889-92E8-7F83735A2BF9}" type="pres">
      <dgm:prSet presAssocID="{D310FC57-F43C-4E2C-9B6D-9DC71D95C4F8}" presName="spaceRect" presStyleCnt="0"/>
      <dgm:spPr/>
    </dgm:pt>
    <dgm:pt modelId="{B1CCC648-1946-4024-BC72-12F157BF1C01}" type="pres">
      <dgm:prSet presAssocID="{D310FC57-F43C-4E2C-9B6D-9DC71D95C4F8}" presName="parTx" presStyleLbl="revTx" presStyleIdx="1" presStyleCnt="4">
        <dgm:presLayoutVars>
          <dgm:chMax val="0"/>
          <dgm:chPref val="0"/>
        </dgm:presLayoutVars>
      </dgm:prSet>
      <dgm:spPr/>
    </dgm:pt>
    <dgm:pt modelId="{BD33376C-DA5C-4321-B816-593B71FAA488}" type="pres">
      <dgm:prSet presAssocID="{BBD1174B-380A-46A3-BB91-AF4D4C8C829A}" presName="sibTrans" presStyleCnt="0"/>
      <dgm:spPr/>
    </dgm:pt>
    <dgm:pt modelId="{9A6D2DFC-8CC3-4C6A-A413-0209664C7083}" type="pres">
      <dgm:prSet presAssocID="{7CE94679-2E84-4BAD-AB15-EB3F167E6A46}" presName="compNode" presStyleCnt="0"/>
      <dgm:spPr/>
    </dgm:pt>
    <dgm:pt modelId="{2424DD3C-D8C4-4E3B-93BA-991BC7EAB6F2}" type="pres">
      <dgm:prSet presAssocID="{7CE94679-2E84-4BAD-AB15-EB3F167E6A46}" presName="bgRect" presStyleLbl="bgShp" presStyleIdx="2" presStyleCnt="4"/>
      <dgm:spPr/>
    </dgm:pt>
    <dgm:pt modelId="{ECFEB0C4-30B7-4493-ACBB-424B6B9D5B6B}" type="pres">
      <dgm:prSet presAssocID="{7CE94679-2E84-4BAD-AB15-EB3F167E6A4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choolhouse outline"/>
        </a:ext>
      </dgm:extLst>
    </dgm:pt>
    <dgm:pt modelId="{F5A4BBDE-3BD9-4EDA-83E6-3ABB08F7BAE0}" type="pres">
      <dgm:prSet presAssocID="{7CE94679-2E84-4BAD-AB15-EB3F167E6A46}" presName="spaceRect" presStyleCnt="0"/>
      <dgm:spPr/>
    </dgm:pt>
    <dgm:pt modelId="{A099E753-F35B-4A24-8E1C-78892999158A}" type="pres">
      <dgm:prSet presAssocID="{7CE94679-2E84-4BAD-AB15-EB3F167E6A46}" presName="parTx" presStyleLbl="revTx" presStyleIdx="2" presStyleCnt="4">
        <dgm:presLayoutVars>
          <dgm:chMax val="0"/>
          <dgm:chPref val="0"/>
        </dgm:presLayoutVars>
      </dgm:prSet>
      <dgm:spPr/>
    </dgm:pt>
    <dgm:pt modelId="{4F3A3109-73D7-4A54-B6B0-184DFE516A95}" type="pres">
      <dgm:prSet presAssocID="{39C7C336-98CB-4C86-AC99-9EAF4D4F2ED6}" presName="sibTrans" presStyleCnt="0"/>
      <dgm:spPr/>
    </dgm:pt>
    <dgm:pt modelId="{E4A0CB12-F2B6-4A62-82C8-3506427C9164}" type="pres">
      <dgm:prSet presAssocID="{86F5EE8F-A5A3-4CF1-9857-3D90C2A6977D}" presName="compNode" presStyleCnt="0"/>
      <dgm:spPr/>
    </dgm:pt>
    <dgm:pt modelId="{58117011-8D5D-4747-80CD-8D2788FAFE28}" type="pres">
      <dgm:prSet presAssocID="{86F5EE8F-A5A3-4CF1-9857-3D90C2A6977D}" presName="bgRect" presStyleLbl="bgShp" presStyleIdx="3" presStyleCnt="4"/>
      <dgm:spPr/>
    </dgm:pt>
    <dgm:pt modelId="{1C7B136C-B410-4D35-8B00-A9E44608E48D}" type="pres">
      <dgm:prSet presAssocID="{86F5EE8F-A5A3-4CF1-9857-3D90C2A6977D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Quill outline"/>
        </a:ext>
      </dgm:extLst>
    </dgm:pt>
    <dgm:pt modelId="{A148DB27-A5C7-43D0-8D46-434DE35488A9}" type="pres">
      <dgm:prSet presAssocID="{86F5EE8F-A5A3-4CF1-9857-3D90C2A6977D}" presName="spaceRect" presStyleCnt="0"/>
      <dgm:spPr/>
    </dgm:pt>
    <dgm:pt modelId="{7EC0067D-B60D-46D0-8AC8-C58B64D277FA}" type="pres">
      <dgm:prSet presAssocID="{86F5EE8F-A5A3-4CF1-9857-3D90C2A6977D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C6D3471D-2A4F-4F81-B30F-AEA358F90A79}" srcId="{31E43AC7-173D-456B-AA05-BC2BCC031A9F}" destId="{D310FC57-F43C-4E2C-9B6D-9DC71D95C4F8}" srcOrd="1" destOrd="0" parTransId="{0E5D1605-1CFC-43E5-9494-6059296171F1}" sibTransId="{BBD1174B-380A-46A3-BB91-AF4D4C8C829A}"/>
    <dgm:cxn modelId="{D1C6AA23-A736-4E26-8749-FDCC29458FB9}" srcId="{31E43AC7-173D-456B-AA05-BC2BCC031A9F}" destId="{645D015E-3619-4B81-950F-1C544B660094}" srcOrd="0" destOrd="0" parTransId="{F3311785-0947-4D54-8B94-64CA474DAD91}" sibTransId="{B48388A5-17F9-4520-9B6E-350D82B6B47E}"/>
    <dgm:cxn modelId="{340918A1-2A97-4CC7-9C47-1772ADE22805}" srcId="{31E43AC7-173D-456B-AA05-BC2BCC031A9F}" destId="{7CE94679-2E84-4BAD-AB15-EB3F167E6A46}" srcOrd="2" destOrd="0" parTransId="{700FB485-963E-4EFD-900F-1742F5BCE2D2}" sibTransId="{39C7C336-98CB-4C86-AC99-9EAF4D4F2ED6}"/>
    <dgm:cxn modelId="{55D36FA9-47B9-4FB7-9D87-815130DE10B4}" srcId="{31E43AC7-173D-456B-AA05-BC2BCC031A9F}" destId="{86F5EE8F-A5A3-4CF1-9857-3D90C2A6977D}" srcOrd="3" destOrd="0" parTransId="{63B5BC1E-BA1A-43C9-AD52-9D99D747CC5F}" sibTransId="{38F48130-8FE7-484D-8F12-95980384125D}"/>
    <dgm:cxn modelId="{D6DF42BC-0B6A-415A-BDC0-214F045B98F6}" type="presOf" srcId="{D310FC57-F43C-4E2C-9B6D-9DC71D95C4F8}" destId="{B1CCC648-1946-4024-BC72-12F157BF1C01}" srcOrd="0" destOrd="0" presId="urn:microsoft.com/office/officeart/2018/2/layout/IconVerticalSolidList"/>
    <dgm:cxn modelId="{AF67EFBF-6BFE-4EFE-8380-70A82874A60D}" type="presOf" srcId="{86F5EE8F-A5A3-4CF1-9857-3D90C2A6977D}" destId="{7EC0067D-B60D-46D0-8AC8-C58B64D277FA}" srcOrd="0" destOrd="0" presId="urn:microsoft.com/office/officeart/2018/2/layout/IconVerticalSolidList"/>
    <dgm:cxn modelId="{FC9A30D0-0277-4B30-BF3C-F7D6E0E606DC}" type="presOf" srcId="{7CE94679-2E84-4BAD-AB15-EB3F167E6A46}" destId="{A099E753-F35B-4A24-8E1C-78892999158A}" srcOrd="0" destOrd="0" presId="urn:microsoft.com/office/officeart/2018/2/layout/IconVerticalSolidList"/>
    <dgm:cxn modelId="{36A9EDEC-8BFB-4FEE-B45F-E388B957A32C}" type="presOf" srcId="{31E43AC7-173D-456B-AA05-BC2BCC031A9F}" destId="{3CD48AE7-D4F6-4B3D-B68E-EF7140BC6B9E}" srcOrd="0" destOrd="0" presId="urn:microsoft.com/office/officeart/2018/2/layout/IconVerticalSolidList"/>
    <dgm:cxn modelId="{8844BFFD-83B2-4166-B6F9-BA7BB7E98FDE}" type="presOf" srcId="{645D015E-3619-4B81-950F-1C544B660094}" destId="{3A883FDD-2842-4E49-87E1-009417EEDE74}" srcOrd="0" destOrd="0" presId="urn:microsoft.com/office/officeart/2018/2/layout/IconVerticalSolidList"/>
    <dgm:cxn modelId="{70568680-A80E-48E6-A060-5DD1652937DA}" type="presParOf" srcId="{3CD48AE7-D4F6-4B3D-B68E-EF7140BC6B9E}" destId="{0DD012EC-9339-4144-9F8C-DEE7EE016DE0}" srcOrd="0" destOrd="0" presId="urn:microsoft.com/office/officeart/2018/2/layout/IconVerticalSolidList"/>
    <dgm:cxn modelId="{F19B7555-756D-441D-B1C2-9D35E0AFA59E}" type="presParOf" srcId="{0DD012EC-9339-4144-9F8C-DEE7EE016DE0}" destId="{E14C0CFE-CB0A-44B3-89C8-D749A9E1B18C}" srcOrd="0" destOrd="0" presId="urn:microsoft.com/office/officeart/2018/2/layout/IconVerticalSolidList"/>
    <dgm:cxn modelId="{C5CF8725-7AD5-49DB-8398-E15B46EBA9B4}" type="presParOf" srcId="{0DD012EC-9339-4144-9F8C-DEE7EE016DE0}" destId="{D88E8319-B6D5-49D3-B540-92B6D9A64BEC}" srcOrd="1" destOrd="0" presId="urn:microsoft.com/office/officeart/2018/2/layout/IconVerticalSolidList"/>
    <dgm:cxn modelId="{72384A35-C31A-458E-A781-1964880AD0CD}" type="presParOf" srcId="{0DD012EC-9339-4144-9F8C-DEE7EE016DE0}" destId="{41321DAC-A7EE-4AE2-9DC7-D1923CA5030E}" srcOrd="2" destOrd="0" presId="urn:microsoft.com/office/officeart/2018/2/layout/IconVerticalSolidList"/>
    <dgm:cxn modelId="{09DB93C8-2F49-44B0-B784-394F1B988826}" type="presParOf" srcId="{0DD012EC-9339-4144-9F8C-DEE7EE016DE0}" destId="{3A883FDD-2842-4E49-87E1-009417EEDE74}" srcOrd="3" destOrd="0" presId="urn:microsoft.com/office/officeart/2018/2/layout/IconVerticalSolidList"/>
    <dgm:cxn modelId="{FCA3B1F4-152B-4150-8783-9D0F7E599D22}" type="presParOf" srcId="{3CD48AE7-D4F6-4B3D-B68E-EF7140BC6B9E}" destId="{92DE347A-F440-4EA0-A19A-15ED32058C42}" srcOrd="1" destOrd="0" presId="urn:microsoft.com/office/officeart/2018/2/layout/IconVerticalSolidList"/>
    <dgm:cxn modelId="{F2FAA34D-227A-4BA4-ACC3-8B03188BB10A}" type="presParOf" srcId="{3CD48AE7-D4F6-4B3D-B68E-EF7140BC6B9E}" destId="{29446BF5-4985-418C-942C-C8627D199049}" srcOrd="2" destOrd="0" presId="urn:microsoft.com/office/officeart/2018/2/layout/IconVerticalSolidList"/>
    <dgm:cxn modelId="{8F12B5E2-909C-43E5-BC75-1966BE120741}" type="presParOf" srcId="{29446BF5-4985-418C-942C-C8627D199049}" destId="{B8DB16D8-4226-454D-9A09-BB040DD2E36C}" srcOrd="0" destOrd="0" presId="urn:microsoft.com/office/officeart/2018/2/layout/IconVerticalSolidList"/>
    <dgm:cxn modelId="{765D216D-A876-4673-8477-E0E31112D287}" type="presParOf" srcId="{29446BF5-4985-418C-942C-C8627D199049}" destId="{564C5C8F-9437-4747-BE47-8A248FCF0411}" srcOrd="1" destOrd="0" presId="urn:microsoft.com/office/officeart/2018/2/layout/IconVerticalSolidList"/>
    <dgm:cxn modelId="{5475EF24-B6BA-4D8A-A896-79C2B8F639A8}" type="presParOf" srcId="{29446BF5-4985-418C-942C-C8627D199049}" destId="{60D04270-229F-4889-92E8-7F83735A2BF9}" srcOrd="2" destOrd="0" presId="urn:microsoft.com/office/officeart/2018/2/layout/IconVerticalSolidList"/>
    <dgm:cxn modelId="{AE8781F8-0ECE-47C1-88A2-B13528B7587F}" type="presParOf" srcId="{29446BF5-4985-418C-942C-C8627D199049}" destId="{B1CCC648-1946-4024-BC72-12F157BF1C01}" srcOrd="3" destOrd="0" presId="urn:microsoft.com/office/officeart/2018/2/layout/IconVerticalSolidList"/>
    <dgm:cxn modelId="{6F588869-7D95-4E85-A456-B969E5BDA8ED}" type="presParOf" srcId="{3CD48AE7-D4F6-4B3D-B68E-EF7140BC6B9E}" destId="{BD33376C-DA5C-4321-B816-593B71FAA488}" srcOrd="3" destOrd="0" presId="urn:microsoft.com/office/officeart/2018/2/layout/IconVerticalSolidList"/>
    <dgm:cxn modelId="{4F79792D-4E96-407D-B990-72C4F2D0CA15}" type="presParOf" srcId="{3CD48AE7-D4F6-4B3D-B68E-EF7140BC6B9E}" destId="{9A6D2DFC-8CC3-4C6A-A413-0209664C7083}" srcOrd="4" destOrd="0" presId="urn:microsoft.com/office/officeart/2018/2/layout/IconVerticalSolidList"/>
    <dgm:cxn modelId="{D5FC8A05-7D49-47B0-A9A7-445AE7B3027D}" type="presParOf" srcId="{9A6D2DFC-8CC3-4C6A-A413-0209664C7083}" destId="{2424DD3C-D8C4-4E3B-93BA-991BC7EAB6F2}" srcOrd="0" destOrd="0" presId="urn:microsoft.com/office/officeart/2018/2/layout/IconVerticalSolidList"/>
    <dgm:cxn modelId="{424C05F8-8178-458A-87B6-239410DC0B2F}" type="presParOf" srcId="{9A6D2DFC-8CC3-4C6A-A413-0209664C7083}" destId="{ECFEB0C4-30B7-4493-ACBB-424B6B9D5B6B}" srcOrd="1" destOrd="0" presId="urn:microsoft.com/office/officeart/2018/2/layout/IconVerticalSolidList"/>
    <dgm:cxn modelId="{7E9060A0-B899-4230-8D01-C031D8F9B2D6}" type="presParOf" srcId="{9A6D2DFC-8CC3-4C6A-A413-0209664C7083}" destId="{F5A4BBDE-3BD9-4EDA-83E6-3ABB08F7BAE0}" srcOrd="2" destOrd="0" presId="urn:microsoft.com/office/officeart/2018/2/layout/IconVerticalSolidList"/>
    <dgm:cxn modelId="{E88A379D-D8BD-40A5-9491-DAABF0A5C954}" type="presParOf" srcId="{9A6D2DFC-8CC3-4C6A-A413-0209664C7083}" destId="{A099E753-F35B-4A24-8E1C-78892999158A}" srcOrd="3" destOrd="0" presId="urn:microsoft.com/office/officeart/2018/2/layout/IconVerticalSolidList"/>
    <dgm:cxn modelId="{CE0E94EB-3E22-43C6-86CA-6D8A4FA5AFDF}" type="presParOf" srcId="{3CD48AE7-D4F6-4B3D-B68E-EF7140BC6B9E}" destId="{4F3A3109-73D7-4A54-B6B0-184DFE516A95}" srcOrd="5" destOrd="0" presId="urn:microsoft.com/office/officeart/2018/2/layout/IconVerticalSolidList"/>
    <dgm:cxn modelId="{C0AEA2AA-5B5F-417A-9292-7218A372FE04}" type="presParOf" srcId="{3CD48AE7-D4F6-4B3D-B68E-EF7140BC6B9E}" destId="{E4A0CB12-F2B6-4A62-82C8-3506427C9164}" srcOrd="6" destOrd="0" presId="urn:microsoft.com/office/officeart/2018/2/layout/IconVerticalSolidList"/>
    <dgm:cxn modelId="{1019F0F0-1272-4EF2-A25E-9569C95B866B}" type="presParOf" srcId="{E4A0CB12-F2B6-4A62-82C8-3506427C9164}" destId="{58117011-8D5D-4747-80CD-8D2788FAFE28}" srcOrd="0" destOrd="0" presId="urn:microsoft.com/office/officeart/2018/2/layout/IconVerticalSolidList"/>
    <dgm:cxn modelId="{A0DC90DF-0683-43FD-AEE7-B828CCDBA25C}" type="presParOf" srcId="{E4A0CB12-F2B6-4A62-82C8-3506427C9164}" destId="{1C7B136C-B410-4D35-8B00-A9E44608E48D}" srcOrd="1" destOrd="0" presId="urn:microsoft.com/office/officeart/2018/2/layout/IconVerticalSolidList"/>
    <dgm:cxn modelId="{27E8384C-B892-4043-8198-08AA6369FB58}" type="presParOf" srcId="{E4A0CB12-F2B6-4A62-82C8-3506427C9164}" destId="{A148DB27-A5C7-43D0-8D46-434DE35488A9}" srcOrd="2" destOrd="0" presId="urn:microsoft.com/office/officeart/2018/2/layout/IconVerticalSolidList"/>
    <dgm:cxn modelId="{A5688826-91CE-4EF0-A544-2ED0AF773360}" type="presParOf" srcId="{E4A0CB12-F2B6-4A62-82C8-3506427C9164}" destId="{7EC0067D-B60D-46D0-8AC8-C58B64D277F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AC819C-932E-4409-935E-5E92CA5070E1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99495D1-AB8A-4D04-A483-AAFCBA0EC900}">
      <dgm:prSet phldrT="[Text]"/>
      <dgm:spPr/>
      <dgm:t>
        <a:bodyPr/>
        <a:lstStyle/>
        <a:p>
          <a:r>
            <a:rPr lang="en-US"/>
            <a:t>Low-income Communities</a:t>
          </a:r>
        </a:p>
      </dgm:t>
    </dgm:pt>
    <dgm:pt modelId="{AE9BF71A-4E36-4C40-AB5C-022B4E42E106}" type="parTrans" cxnId="{C5CFC36C-4906-4735-A0BA-EF7A134A3693}">
      <dgm:prSet/>
      <dgm:spPr/>
      <dgm:t>
        <a:bodyPr/>
        <a:lstStyle/>
        <a:p>
          <a:endParaRPr lang="en-US"/>
        </a:p>
      </dgm:t>
    </dgm:pt>
    <dgm:pt modelId="{30F3B786-235C-4AC0-9BBA-F53BEB19C779}" type="sibTrans" cxnId="{C5CFC36C-4906-4735-A0BA-EF7A134A3693}">
      <dgm:prSet/>
      <dgm:spPr/>
      <dgm:t>
        <a:bodyPr/>
        <a:lstStyle/>
        <a:p>
          <a:endParaRPr lang="en-US"/>
        </a:p>
      </dgm:t>
    </dgm:pt>
    <dgm:pt modelId="{A55B1BAD-BE5F-4DEE-9C48-E55535E84930}">
      <dgm:prSet phldrT="[Text]" custT="1"/>
      <dgm:spPr/>
      <dgm:t>
        <a:bodyPr/>
        <a:lstStyle/>
        <a:p>
          <a:r>
            <a:rPr lang="en-US" sz="2400"/>
            <a:t>10-20% bonus</a:t>
          </a:r>
        </a:p>
      </dgm:t>
    </dgm:pt>
    <dgm:pt modelId="{C3D561B0-D131-434D-91C2-CB0E716C55CD}" type="parTrans" cxnId="{9C0BDFE8-A30A-40C3-9C5C-11FAB9E524C4}">
      <dgm:prSet/>
      <dgm:spPr/>
      <dgm:t>
        <a:bodyPr/>
        <a:lstStyle/>
        <a:p>
          <a:endParaRPr lang="en-US"/>
        </a:p>
      </dgm:t>
    </dgm:pt>
    <dgm:pt modelId="{3783AF11-DEF5-4A57-81F3-16A1822F4507}" type="sibTrans" cxnId="{9C0BDFE8-A30A-40C3-9C5C-11FAB9E524C4}">
      <dgm:prSet/>
      <dgm:spPr/>
      <dgm:t>
        <a:bodyPr/>
        <a:lstStyle/>
        <a:p>
          <a:endParaRPr lang="en-US"/>
        </a:p>
      </dgm:t>
    </dgm:pt>
    <dgm:pt modelId="{38D3FA2D-B909-4B75-874A-2436B3581266}">
      <dgm:prSet phldrT="[Text]"/>
      <dgm:spPr/>
      <dgm:t>
        <a:bodyPr/>
        <a:lstStyle/>
        <a:p>
          <a:r>
            <a:rPr lang="en-US"/>
            <a:t>… if project is in a low-income community with extra bonus if residential or econ benefit project</a:t>
          </a:r>
        </a:p>
      </dgm:t>
    </dgm:pt>
    <dgm:pt modelId="{4D0D0D4F-DFA0-46CB-BCBB-84EFA59F0C0F}" type="parTrans" cxnId="{30FCBAB7-18C7-47DA-9A39-40E48A9DEB9F}">
      <dgm:prSet/>
      <dgm:spPr/>
      <dgm:t>
        <a:bodyPr/>
        <a:lstStyle/>
        <a:p>
          <a:endParaRPr lang="en-US"/>
        </a:p>
      </dgm:t>
    </dgm:pt>
    <dgm:pt modelId="{7C91AC58-C6AE-45A9-B5DD-3F3742CE161E}" type="sibTrans" cxnId="{30FCBAB7-18C7-47DA-9A39-40E48A9DEB9F}">
      <dgm:prSet/>
      <dgm:spPr/>
      <dgm:t>
        <a:bodyPr/>
        <a:lstStyle/>
        <a:p>
          <a:endParaRPr lang="en-US"/>
        </a:p>
      </dgm:t>
    </dgm:pt>
    <dgm:pt modelId="{2D0FE0DF-247E-47D3-A6E4-3F67421C2277}">
      <dgm:prSet phldrT="[Text]"/>
      <dgm:spPr/>
      <dgm:t>
        <a:bodyPr/>
        <a:lstStyle/>
        <a:p>
          <a:r>
            <a:rPr lang="en-US"/>
            <a:t>Energy Communities</a:t>
          </a:r>
        </a:p>
      </dgm:t>
    </dgm:pt>
    <dgm:pt modelId="{98457B52-9FF3-4666-8AFF-CC22EADDBB31}" type="parTrans" cxnId="{47F32282-3914-4E80-AE3F-220F5DA9A062}">
      <dgm:prSet/>
      <dgm:spPr/>
      <dgm:t>
        <a:bodyPr/>
        <a:lstStyle/>
        <a:p>
          <a:endParaRPr lang="en-US"/>
        </a:p>
      </dgm:t>
    </dgm:pt>
    <dgm:pt modelId="{DFF1E22A-9A71-4205-8E0C-93CFCFB0B4B8}" type="sibTrans" cxnId="{47F32282-3914-4E80-AE3F-220F5DA9A062}">
      <dgm:prSet/>
      <dgm:spPr/>
      <dgm:t>
        <a:bodyPr/>
        <a:lstStyle/>
        <a:p>
          <a:endParaRPr lang="en-US"/>
        </a:p>
      </dgm:t>
    </dgm:pt>
    <dgm:pt modelId="{F62A0254-1578-4AD0-B15D-652A7D627487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B557C9CA-ECC3-4026-B097-C3E297740DB9}" type="parTrans" cxnId="{9DAD89CB-DEFD-4DCD-A1A2-73E88D6B8A15}">
      <dgm:prSet/>
      <dgm:spPr/>
      <dgm:t>
        <a:bodyPr/>
        <a:lstStyle/>
        <a:p>
          <a:endParaRPr lang="en-US"/>
        </a:p>
      </dgm:t>
    </dgm:pt>
    <dgm:pt modelId="{B582E5D1-6080-4B74-B883-29283C8D2F0B}" type="sibTrans" cxnId="{9DAD89CB-DEFD-4DCD-A1A2-73E88D6B8A15}">
      <dgm:prSet/>
      <dgm:spPr/>
      <dgm:t>
        <a:bodyPr/>
        <a:lstStyle/>
        <a:p>
          <a:endParaRPr lang="en-US"/>
        </a:p>
      </dgm:t>
    </dgm:pt>
    <dgm:pt modelId="{9875D474-5E2A-4359-80F5-8A7DC905583B}">
      <dgm:prSet phldrT="[Text]"/>
      <dgm:spPr/>
      <dgm:t>
        <a:bodyPr/>
        <a:lstStyle/>
        <a:p>
          <a:r>
            <a:rPr lang="en-US"/>
            <a:t>…if project is in historical “energy community” (i.e., closed coal mine, some brownfield sites)</a:t>
          </a:r>
        </a:p>
      </dgm:t>
    </dgm:pt>
    <dgm:pt modelId="{79A95963-76DD-4AA3-B3C4-DA1F03D4E8E3}" type="parTrans" cxnId="{51991E90-5772-4FA5-872C-B5CAECC39A14}">
      <dgm:prSet/>
      <dgm:spPr/>
      <dgm:t>
        <a:bodyPr/>
        <a:lstStyle/>
        <a:p>
          <a:endParaRPr lang="en-US"/>
        </a:p>
      </dgm:t>
    </dgm:pt>
    <dgm:pt modelId="{3834F53B-3709-46C4-947A-2E444704DA52}" type="sibTrans" cxnId="{51991E90-5772-4FA5-872C-B5CAECC39A14}">
      <dgm:prSet/>
      <dgm:spPr/>
      <dgm:t>
        <a:bodyPr/>
        <a:lstStyle/>
        <a:p>
          <a:endParaRPr lang="en-US"/>
        </a:p>
      </dgm:t>
    </dgm:pt>
    <dgm:pt modelId="{08BEB54E-7C0F-498D-B913-4C9640BA6C71}">
      <dgm:prSet phldrT="[Text]"/>
      <dgm:spPr/>
      <dgm:t>
        <a:bodyPr/>
        <a:lstStyle/>
        <a:p>
          <a:r>
            <a:rPr lang="en-US"/>
            <a:t>Prevailing Wage and Apprenticeship**</a:t>
          </a:r>
        </a:p>
      </dgm:t>
    </dgm:pt>
    <dgm:pt modelId="{41B8003C-50EB-481C-9AEA-9D8CC0366AE5}" type="parTrans" cxnId="{66765EB7-0D9C-400E-8E95-AE2549F1A472}">
      <dgm:prSet/>
      <dgm:spPr/>
      <dgm:t>
        <a:bodyPr/>
        <a:lstStyle/>
        <a:p>
          <a:endParaRPr lang="en-US"/>
        </a:p>
      </dgm:t>
    </dgm:pt>
    <dgm:pt modelId="{06C81CCD-512F-434B-AA39-9540BDE6269B}" type="sibTrans" cxnId="{66765EB7-0D9C-400E-8E95-AE2549F1A472}">
      <dgm:prSet/>
      <dgm:spPr/>
      <dgm:t>
        <a:bodyPr/>
        <a:lstStyle/>
        <a:p>
          <a:endParaRPr lang="en-US"/>
        </a:p>
      </dgm:t>
    </dgm:pt>
    <dgm:pt modelId="{9516B312-CCDF-4B00-93AC-865BC3BF202F}">
      <dgm:prSet phldrT="[Text]" custT="1"/>
      <dgm:spPr/>
      <dgm:t>
        <a:bodyPr/>
        <a:lstStyle/>
        <a:p>
          <a:r>
            <a:rPr lang="en-US" sz="2400"/>
            <a:t>5x bonus</a:t>
          </a:r>
        </a:p>
      </dgm:t>
    </dgm:pt>
    <dgm:pt modelId="{2A757487-E5F4-4F08-96F6-29F1FAD7BDFB}" type="parTrans" cxnId="{EE5C32B7-C39B-4112-9A8B-1F66CD270A3B}">
      <dgm:prSet/>
      <dgm:spPr/>
      <dgm:t>
        <a:bodyPr/>
        <a:lstStyle/>
        <a:p>
          <a:endParaRPr lang="en-US"/>
        </a:p>
      </dgm:t>
    </dgm:pt>
    <dgm:pt modelId="{8BF7F262-68A2-43F3-899B-86BCA942BD18}" type="sibTrans" cxnId="{EE5C32B7-C39B-4112-9A8B-1F66CD270A3B}">
      <dgm:prSet/>
      <dgm:spPr/>
      <dgm:t>
        <a:bodyPr/>
        <a:lstStyle/>
        <a:p>
          <a:endParaRPr lang="en-US"/>
        </a:p>
      </dgm:t>
    </dgm:pt>
    <dgm:pt modelId="{7D2C0E65-75DE-4242-9D62-31BB91237777}">
      <dgm:prSet phldrT="[Text]"/>
      <dgm:spPr/>
      <dgm:t>
        <a:bodyPr/>
        <a:lstStyle/>
        <a:p>
          <a:r>
            <a:rPr lang="en-US"/>
            <a:t>…if </a:t>
          </a:r>
          <a:r>
            <a:rPr lang="en-US" err="1"/>
            <a:t>reqs</a:t>
          </a:r>
          <a:r>
            <a:rPr lang="en-US"/>
            <a:t> for prevailing wages and registered apprentices are met</a:t>
          </a:r>
        </a:p>
      </dgm:t>
    </dgm:pt>
    <dgm:pt modelId="{631853B6-5BEF-4F67-AC90-F35A2C607143}" type="parTrans" cxnId="{EA395202-278D-4D38-BDDE-9A60C6D68D71}">
      <dgm:prSet/>
      <dgm:spPr/>
      <dgm:t>
        <a:bodyPr/>
        <a:lstStyle/>
        <a:p>
          <a:endParaRPr lang="en-US"/>
        </a:p>
      </dgm:t>
    </dgm:pt>
    <dgm:pt modelId="{3D76EF8E-F219-46EC-8BC4-827AB83D9EB4}" type="sibTrans" cxnId="{EA395202-278D-4D38-BDDE-9A60C6D68D71}">
      <dgm:prSet/>
      <dgm:spPr/>
      <dgm:t>
        <a:bodyPr/>
        <a:lstStyle/>
        <a:p>
          <a:endParaRPr lang="en-US"/>
        </a:p>
      </dgm:t>
    </dgm:pt>
    <dgm:pt modelId="{65C874C2-E4AE-42C7-9CCC-45B98CD31C6B}">
      <dgm:prSet phldrT="[Text]"/>
      <dgm:spPr/>
      <dgm:t>
        <a:bodyPr/>
        <a:lstStyle/>
        <a:p>
          <a:r>
            <a:rPr lang="en-US"/>
            <a:t>Domestic Content* **</a:t>
          </a:r>
        </a:p>
      </dgm:t>
    </dgm:pt>
    <dgm:pt modelId="{F9ACEEC3-39AF-4CCD-B456-0873BA0F56EF}" type="parTrans" cxnId="{626B71B2-8DE9-42C4-B45B-46A1CCD55E2E}">
      <dgm:prSet/>
      <dgm:spPr/>
      <dgm:t>
        <a:bodyPr/>
        <a:lstStyle/>
        <a:p>
          <a:endParaRPr lang="en-US"/>
        </a:p>
      </dgm:t>
    </dgm:pt>
    <dgm:pt modelId="{3557BE09-06F5-4BB9-A73C-5CB419D6F143}" type="sibTrans" cxnId="{626B71B2-8DE9-42C4-B45B-46A1CCD55E2E}">
      <dgm:prSet/>
      <dgm:spPr/>
      <dgm:t>
        <a:bodyPr/>
        <a:lstStyle/>
        <a:p>
          <a:endParaRPr lang="en-US"/>
        </a:p>
      </dgm:t>
    </dgm:pt>
    <dgm:pt modelId="{BACBBC37-538D-4E62-96CE-411E9E8BE57A}">
      <dgm:prSet phldrT="[Text]"/>
      <dgm:spPr/>
      <dgm:t>
        <a:bodyPr/>
        <a:lstStyle/>
        <a:p>
          <a:r>
            <a:rPr lang="en-US"/>
            <a:t>…if 100% of applicable steel and iron and an applicable share of ‘manufactured products” produced in U.S.</a:t>
          </a:r>
        </a:p>
      </dgm:t>
    </dgm:pt>
    <dgm:pt modelId="{1C15ABB7-0183-4F78-81B0-E76975AF974C}" type="parTrans" cxnId="{DE96D47B-6E56-42BF-8747-77646D1FDA8A}">
      <dgm:prSet/>
      <dgm:spPr/>
      <dgm:t>
        <a:bodyPr/>
        <a:lstStyle/>
        <a:p>
          <a:endParaRPr lang="en-US"/>
        </a:p>
      </dgm:t>
    </dgm:pt>
    <dgm:pt modelId="{B4A53230-B936-41D2-A5A1-8B58B8BB2F32}" type="sibTrans" cxnId="{DE96D47B-6E56-42BF-8747-77646D1FDA8A}">
      <dgm:prSet/>
      <dgm:spPr/>
      <dgm:t>
        <a:bodyPr/>
        <a:lstStyle/>
        <a:p>
          <a:endParaRPr lang="en-US"/>
        </a:p>
      </dgm:t>
    </dgm:pt>
    <dgm:pt modelId="{34411D3F-D89C-4D89-A7EA-824CE926B80B}">
      <dgm:prSet phldrT="[Text]" custT="1"/>
      <dgm:spPr/>
      <dgm:t>
        <a:bodyPr/>
        <a:lstStyle/>
        <a:p>
          <a:r>
            <a:rPr lang="en-US" sz="2400"/>
            <a:t>10% bonus</a:t>
          </a:r>
        </a:p>
      </dgm:t>
    </dgm:pt>
    <dgm:pt modelId="{E73944F4-3988-471E-AAA2-D24C41CD9C81}" type="parTrans" cxnId="{7A5D71E7-B703-425D-A8E2-C680A16AFBCA}">
      <dgm:prSet/>
      <dgm:spPr/>
      <dgm:t>
        <a:bodyPr/>
        <a:lstStyle/>
        <a:p>
          <a:endParaRPr lang="en-US"/>
        </a:p>
      </dgm:t>
    </dgm:pt>
    <dgm:pt modelId="{578FD839-A611-4B51-B822-2BACBAE7B81B}" type="sibTrans" cxnId="{7A5D71E7-B703-425D-A8E2-C680A16AFBCA}">
      <dgm:prSet/>
      <dgm:spPr/>
      <dgm:t>
        <a:bodyPr/>
        <a:lstStyle/>
        <a:p>
          <a:endParaRPr lang="en-US"/>
        </a:p>
      </dgm:t>
    </dgm:pt>
    <dgm:pt modelId="{D363EFFC-0E21-45BB-BDFA-025652EA9AA2}">
      <dgm:prSet phldrT="[Text]" custT="1"/>
      <dgm:spPr/>
      <dgm:t>
        <a:bodyPr/>
        <a:lstStyle/>
        <a:p>
          <a:r>
            <a:rPr lang="en-US" sz="2400"/>
            <a:t>ITC only </a:t>
          </a:r>
        </a:p>
      </dgm:t>
    </dgm:pt>
    <dgm:pt modelId="{6B64DF02-5E0A-4852-8848-7B5861B30FE3}" type="parTrans" cxnId="{3BCBAAE5-74B0-4A3E-BD52-6074358AC6DA}">
      <dgm:prSet/>
      <dgm:spPr/>
      <dgm:t>
        <a:bodyPr/>
        <a:lstStyle/>
        <a:p>
          <a:endParaRPr lang="en-US"/>
        </a:p>
      </dgm:t>
    </dgm:pt>
    <dgm:pt modelId="{18BDEC0E-CC39-483C-84DE-B6CCAC897326}" type="sibTrans" cxnId="{3BCBAAE5-74B0-4A3E-BD52-6074358AC6DA}">
      <dgm:prSet/>
      <dgm:spPr/>
      <dgm:t>
        <a:bodyPr/>
        <a:lstStyle/>
        <a:p>
          <a:endParaRPr lang="en-US"/>
        </a:p>
      </dgm:t>
    </dgm:pt>
    <dgm:pt modelId="{BBD264C5-79FF-4BC3-94FB-B126D3894194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A973357D-908D-4898-BCC6-1B2D375CC913}" type="parTrans" cxnId="{150E8C39-8D08-4815-8EC4-BDCBDB88A0F1}">
      <dgm:prSet/>
      <dgm:spPr/>
      <dgm:t>
        <a:bodyPr/>
        <a:lstStyle/>
        <a:p>
          <a:endParaRPr lang="en-US"/>
        </a:p>
      </dgm:t>
    </dgm:pt>
    <dgm:pt modelId="{5F531EBD-933B-495E-8BD6-D1E7F5F4C83D}" type="sibTrans" cxnId="{150E8C39-8D08-4815-8EC4-BDCBDB88A0F1}">
      <dgm:prSet/>
      <dgm:spPr/>
      <dgm:t>
        <a:bodyPr/>
        <a:lstStyle/>
        <a:p>
          <a:endParaRPr lang="en-US"/>
        </a:p>
      </dgm:t>
    </dgm:pt>
    <dgm:pt modelId="{2E0BD6D5-FEF1-4A19-964E-0FD95EA2EA41}">
      <dgm:prSet phldrT="[Text]" custT="1"/>
      <dgm:spPr/>
      <dgm:t>
        <a:bodyPr/>
        <a:lstStyle/>
        <a:p>
          <a:r>
            <a:rPr lang="en-US" sz="1800"/>
            <a:t>Applies to both ITC tax basis and PTC rate</a:t>
          </a:r>
        </a:p>
      </dgm:t>
    </dgm:pt>
    <dgm:pt modelId="{B227721B-BF55-42AF-ABA2-7A2580F0EB79}" type="parTrans" cxnId="{FE9BD202-3AA1-440B-8E3F-4B0D2D879150}">
      <dgm:prSet/>
      <dgm:spPr/>
      <dgm:t>
        <a:bodyPr/>
        <a:lstStyle/>
        <a:p>
          <a:endParaRPr lang="en-US"/>
        </a:p>
      </dgm:t>
    </dgm:pt>
    <dgm:pt modelId="{BA32C39A-B710-4095-85AF-A6CF5B79B6FB}" type="sibTrans" cxnId="{FE9BD202-3AA1-440B-8E3F-4B0D2D879150}">
      <dgm:prSet/>
      <dgm:spPr/>
      <dgm:t>
        <a:bodyPr/>
        <a:lstStyle/>
        <a:p>
          <a:endParaRPr lang="en-US"/>
        </a:p>
      </dgm:t>
    </dgm:pt>
    <dgm:pt modelId="{E69C79C2-4D4B-421A-B054-D2204158FDA0}">
      <dgm:prSet phldrT="[Text]" custT="1"/>
      <dgm:spPr/>
      <dgm:t>
        <a:bodyPr/>
        <a:lstStyle/>
        <a:p>
          <a:r>
            <a:rPr lang="en-US" sz="1800"/>
            <a:t>Applies to both ITC tax basis and PTC rate </a:t>
          </a:r>
        </a:p>
      </dgm:t>
    </dgm:pt>
    <dgm:pt modelId="{D0676B79-27C6-440C-AAF0-5EA9B4340B41}" type="parTrans" cxnId="{211097B7-797A-4BE9-A69F-3A38DB27D14C}">
      <dgm:prSet/>
      <dgm:spPr/>
      <dgm:t>
        <a:bodyPr/>
        <a:lstStyle/>
        <a:p>
          <a:endParaRPr lang="en-US"/>
        </a:p>
      </dgm:t>
    </dgm:pt>
    <dgm:pt modelId="{232C0049-3A87-4A98-936A-061BF1EF5429}" type="sibTrans" cxnId="{211097B7-797A-4BE9-A69F-3A38DB27D14C}">
      <dgm:prSet/>
      <dgm:spPr/>
      <dgm:t>
        <a:bodyPr/>
        <a:lstStyle/>
        <a:p>
          <a:endParaRPr lang="en-US"/>
        </a:p>
      </dgm:t>
    </dgm:pt>
    <dgm:pt modelId="{279029A4-2649-491F-A026-0D06054CB4D0}" type="pres">
      <dgm:prSet presAssocID="{10AC819C-932E-4409-935E-5E92CA5070E1}" presName="theList" presStyleCnt="0">
        <dgm:presLayoutVars>
          <dgm:dir/>
          <dgm:animLvl val="lvl"/>
          <dgm:resizeHandles val="exact"/>
        </dgm:presLayoutVars>
      </dgm:prSet>
      <dgm:spPr/>
    </dgm:pt>
    <dgm:pt modelId="{1E9690C7-63FA-4529-BBEE-85FDDE57C89A}" type="pres">
      <dgm:prSet presAssocID="{999495D1-AB8A-4D04-A483-AAFCBA0EC900}" presName="compNode" presStyleCnt="0"/>
      <dgm:spPr/>
    </dgm:pt>
    <dgm:pt modelId="{0F7011D2-A5AF-4794-BD43-A7FCA5BAE9A9}" type="pres">
      <dgm:prSet presAssocID="{999495D1-AB8A-4D04-A483-AAFCBA0EC900}" presName="aNode" presStyleLbl="bgShp" presStyleIdx="0" presStyleCnt="4"/>
      <dgm:spPr/>
    </dgm:pt>
    <dgm:pt modelId="{4D8996C3-1655-46DD-821A-57489178191A}" type="pres">
      <dgm:prSet presAssocID="{999495D1-AB8A-4D04-A483-AAFCBA0EC900}" presName="textNode" presStyleLbl="bgShp" presStyleIdx="0" presStyleCnt="4"/>
      <dgm:spPr/>
    </dgm:pt>
    <dgm:pt modelId="{18C29045-D9E0-4794-B101-370CDBF77B20}" type="pres">
      <dgm:prSet presAssocID="{999495D1-AB8A-4D04-A483-AAFCBA0EC900}" presName="compChildNode" presStyleCnt="0"/>
      <dgm:spPr/>
    </dgm:pt>
    <dgm:pt modelId="{010C1F1A-57D9-460C-9BAB-AA728CBD3C68}" type="pres">
      <dgm:prSet presAssocID="{999495D1-AB8A-4D04-A483-AAFCBA0EC900}" presName="theInnerList" presStyleCnt="0"/>
      <dgm:spPr/>
    </dgm:pt>
    <dgm:pt modelId="{D60B30AA-8DA9-4EC1-A504-63461038DD05}" type="pres">
      <dgm:prSet presAssocID="{A55B1BAD-BE5F-4DEE-9C48-E55535E84930}" presName="childNode" presStyleLbl="node1" presStyleIdx="0" presStyleCnt="12">
        <dgm:presLayoutVars>
          <dgm:bulletEnabled val="1"/>
        </dgm:presLayoutVars>
      </dgm:prSet>
      <dgm:spPr/>
    </dgm:pt>
    <dgm:pt modelId="{95E7ACF7-9C37-4930-B8D2-E0819AB7E12C}" type="pres">
      <dgm:prSet presAssocID="{A55B1BAD-BE5F-4DEE-9C48-E55535E84930}" presName="aSpace2" presStyleCnt="0"/>
      <dgm:spPr/>
    </dgm:pt>
    <dgm:pt modelId="{0E2737C2-F58F-4E12-81B0-5C364DC5D99F}" type="pres">
      <dgm:prSet presAssocID="{38D3FA2D-B909-4B75-874A-2436B3581266}" presName="childNode" presStyleLbl="node1" presStyleIdx="1" presStyleCnt="12">
        <dgm:presLayoutVars>
          <dgm:bulletEnabled val="1"/>
        </dgm:presLayoutVars>
      </dgm:prSet>
      <dgm:spPr/>
    </dgm:pt>
    <dgm:pt modelId="{63EEC92E-5C3B-4D26-A6D6-DAD46C9F9E0E}" type="pres">
      <dgm:prSet presAssocID="{38D3FA2D-B909-4B75-874A-2436B3581266}" presName="aSpace2" presStyleCnt="0"/>
      <dgm:spPr/>
    </dgm:pt>
    <dgm:pt modelId="{D984233B-EA55-4177-AE48-52FFF4092240}" type="pres">
      <dgm:prSet presAssocID="{D363EFFC-0E21-45BB-BDFA-025652EA9AA2}" presName="childNode" presStyleLbl="node1" presStyleIdx="2" presStyleCnt="12">
        <dgm:presLayoutVars>
          <dgm:bulletEnabled val="1"/>
        </dgm:presLayoutVars>
      </dgm:prSet>
      <dgm:spPr/>
    </dgm:pt>
    <dgm:pt modelId="{566311E1-7B95-46AF-A47C-A63F374BE6FE}" type="pres">
      <dgm:prSet presAssocID="{999495D1-AB8A-4D04-A483-AAFCBA0EC900}" presName="aSpace" presStyleCnt="0"/>
      <dgm:spPr/>
    </dgm:pt>
    <dgm:pt modelId="{4ABB2462-1D8F-4DAF-8955-14364A36AB67}" type="pres">
      <dgm:prSet presAssocID="{2D0FE0DF-247E-47D3-A6E4-3F67421C2277}" presName="compNode" presStyleCnt="0"/>
      <dgm:spPr/>
    </dgm:pt>
    <dgm:pt modelId="{1095A64F-8AE9-4193-81AE-C1EF826663D0}" type="pres">
      <dgm:prSet presAssocID="{2D0FE0DF-247E-47D3-A6E4-3F67421C2277}" presName="aNode" presStyleLbl="bgShp" presStyleIdx="1" presStyleCnt="4"/>
      <dgm:spPr/>
    </dgm:pt>
    <dgm:pt modelId="{D98C41DF-CC38-4F98-9F6C-06DBF6AD4C5B}" type="pres">
      <dgm:prSet presAssocID="{2D0FE0DF-247E-47D3-A6E4-3F67421C2277}" presName="textNode" presStyleLbl="bgShp" presStyleIdx="1" presStyleCnt="4"/>
      <dgm:spPr/>
    </dgm:pt>
    <dgm:pt modelId="{CB85468D-253E-4D86-9ED9-ADE181AB31BA}" type="pres">
      <dgm:prSet presAssocID="{2D0FE0DF-247E-47D3-A6E4-3F67421C2277}" presName="compChildNode" presStyleCnt="0"/>
      <dgm:spPr/>
    </dgm:pt>
    <dgm:pt modelId="{44C01B9E-15BF-4BB5-AAC1-D884D31EFBDE}" type="pres">
      <dgm:prSet presAssocID="{2D0FE0DF-247E-47D3-A6E4-3F67421C2277}" presName="theInnerList" presStyleCnt="0"/>
      <dgm:spPr/>
    </dgm:pt>
    <dgm:pt modelId="{BEFB6ABF-F2E5-440F-8E1F-E01E0A414B2C}" type="pres">
      <dgm:prSet presAssocID="{F62A0254-1578-4AD0-B15D-652A7D627487}" presName="childNode" presStyleLbl="node1" presStyleIdx="3" presStyleCnt="12">
        <dgm:presLayoutVars>
          <dgm:bulletEnabled val="1"/>
        </dgm:presLayoutVars>
      </dgm:prSet>
      <dgm:spPr/>
    </dgm:pt>
    <dgm:pt modelId="{DD845F0C-DBE4-4CCA-9DE4-ED79DED533A0}" type="pres">
      <dgm:prSet presAssocID="{F62A0254-1578-4AD0-B15D-652A7D627487}" presName="aSpace2" presStyleCnt="0"/>
      <dgm:spPr/>
    </dgm:pt>
    <dgm:pt modelId="{FF4B2263-CDDA-405F-8CFB-87F487FFF744}" type="pres">
      <dgm:prSet presAssocID="{9875D474-5E2A-4359-80F5-8A7DC905583B}" presName="childNode" presStyleLbl="node1" presStyleIdx="4" presStyleCnt="12">
        <dgm:presLayoutVars>
          <dgm:bulletEnabled val="1"/>
        </dgm:presLayoutVars>
      </dgm:prSet>
      <dgm:spPr/>
    </dgm:pt>
    <dgm:pt modelId="{2C6F978A-3377-409C-843D-E42E0F5CC9ED}" type="pres">
      <dgm:prSet presAssocID="{9875D474-5E2A-4359-80F5-8A7DC905583B}" presName="aSpace2" presStyleCnt="0"/>
      <dgm:spPr/>
    </dgm:pt>
    <dgm:pt modelId="{E23E4B55-80CC-4507-A6DA-A3EE92F71D2B}" type="pres">
      <dgm:prSet presAssocID="{BBD264C5-79FF-4BC3-94FB-B126D3894194}" presName="childNode" presStyleLbl="node1" presStyleIdx="5" presStyleCnt="12">
        <dgm:presLayoutVars>
          <dgm:bulletEnabled val="1"/>
        </dgm:presLayoutVars>
      </dgm:prSet>
      <dgm:spPr/>
    </dgm:pt>
    <dgm:pt modelId="{90875953-DD7F-4627-94EE-B940C7BBFBA6}" type="pres">
      <dgm:prSet presAssocID="{2D0FE0DF-247E-47D3-A6E4-3F67421C2277}" presName="aSpace" presStyleCnt="0"/>
      <dgm:spPr/>
    </dgm:pt>
    <dgm:pt modelId="{CE50AD81-F64D-430A-A5C0-F2C533989C54}" type="pres">
      <dgm:prSet presAssocID="{08BEB54E-7C0F-498D-B913-4C9640BA6C71}" presName="compNode" presStyleCnt="0"/>
      <dgm:spPr/>
    </dgm:pt>
    <dgm:pt modelId="{CA438F45-983A-4572-94FF-A2A8EFD54C3B}" type="pres">
      <dgm:prSet presAssocID="{08BEB54E-7C0F-498D-B913-4C9640BA6C71}" presName="aNode" presStyleLbl="bgShp" presStyleIdx="2" presStyleCnt="4"/>
      <dgm:spPr/>
    </dgm:pt>
    <dgm:pt modelId="{70F9CCC7-7DFB-4950-A9CD-8633B6885754}" type="pres">
      <dgm:prSet presAssocID="{08BEB54E-7C0F-498D-B913-4C9640BA6C71}" presName="textNode" presStyleLbl="bgShp" presStyleIdx="2" presStyleCnt="4"/>
      <dgm:spPr/>
    </dgm:pt>
    <dgm:pt modelId="{23650E3B-9E2A-4B1E-A716-5E98351B0D96}" type="pres">
      <dgm:prSet presAssocID="{08BEB54E-7C0F-498D-B913-4C9640BA6C71}" presName="compChildNode" presStyleCnt="0"/>
      <dgm:spPr/>
    </dgm:pt>
    <dgm:pt modelId="{A05CF6BD-D05A-4534-8701-837595C37E91}" type="pres">
      <dgm:prSet presAssocID="{08BEB54E-7C0F-498D-B913-4C9640BA6C71}" presName="theInnerList" presStyleCnt="0"/>
      <dgm:spPr/>
    </dgm:pt>
    <dgm:pt modelId="{6FA3D22E-DCC4-42D2-B66E-F0FED99AFA68}" type="pres">
      <dgm:prSet presAssocID="{9516B312-CCDF-4B00-93AC-865BC3BF202F}" presName="childNode" presStyleLbl="node1" presStyleIdx="6" presStyleCnt="12">
        <dgm:presLayoutVars>
          <dgm:bulletEnabled val="1"/>
        </dgm:presLayoutVars>
      </dgm:prSet>
      <dgm:spPr/>
    </dgm:pt>
    <dgm:pt modelId="{5A4711AE-7846-4ED4-8EB3-5DB1D42FA112}" type="pres">
      <dgm:prSet presAssocID="{9516B312-CCDF-4B00-93AC-865BC3BF202F}" presName="aSpace2" presStyleCnt="0"/>
      <dgm:spPr/>
    </dgm:pt>
    <dgm:pt modelId="{268D3A7A-F93C-4C57-AF69-B433BE269048}" type="pres">
      <dgm:prSet presAssocID="{7D2C0E65-75DE-4242-9D62-31BB91237777}" presName="childNode" presStyleLbl="node1" presStyleIdx="7" presStyleCnt="12">
        <dgm:presLayoutVars>
          <dgm:bulletEnabled val="1"/>
        </dgm:presLayoutVars>
      </dgm:prSet>
      <dgm:spPr/>
    </dgm:pt>
    <dgm:pt modelId="{72496BD6-1B62-4160-A821-DCEB69A34E68}" type="pres">
      <dgm:prSet presAssocID="{7D2C0E65-75DE-4242-9D62-31BB91237777}" presName="aSpace2" presStyleCnt="0"/>
      <dgm:spPr/>
    </dgm:pt>
    <dgm:pt modelId="{426FAD5B-1944-40CE-8BE6-D33BE0ED480A}" type="pres">
      <dgm:prSet presAssocID="{2E0BD6D5-FEF1-4A19-964E-0FD95EA2EA41}" presName="childNode" presStyleLbl="node1" presStyleIdx="8" presStyleCnt="12">
        <dgm:presLayoutVars>
          <dgm:bulletEnabled val="1"/>
        </dgm:presLayoutVars>
      </dgm:prSet>
      <dgm:spPr/>
    </dgm:pt>
    <dgm:pt modelId="{064EA2B5-71EB-402D-849C-0DB85B76FD0E}" type="pres">
      <dgm:prSet presAssocID="{08BEB54E-7C0F-498D-B913-4C9640BA6C71}" presName="aSpace" presStyleCnt="0"/>
      <dgm:spPr/>
    </dgm:pt>
    <dgm:pt modelId="{F6FEB3CE-84F8-42E5-A9F3-94FE5B993727}" type="pres">
      <dgm:prSet presAssocID="{65C874C2-E4AE-42C7-9CCC-45B98CD31C6B}" presName="compNode" presStyleCnt="0"/>
      <dgm:spPr/>
    </dgm:pt>
    <dgm:pt modelId="{F592FFF9-DBA5-41D3-8C7C-EAE434B0ECE5}" type="pres">
      <dgm:prSet presAssocID="{65C874C2-E4AE-42C7-9CCC-45B98CD31C6B}" presName="aNode" presStyleLbl="bgShp" presStyleIdx="3" presStyleCnt="4"/>
      <dgm:spPr/>
    </dgm:pt>
    <dgm:pt modelId="{91FB0EA6-5A99-44FD-B27B-18AA9ADAAF03}" type="pres">
      <dgm:prSet presAssocID="{65C874C2-E4AE-42C7-9CCC-45B98CD31C6B}" presName="textNode" presStyleLbl="bgShp" presStyleIdx="3" presStyleCnt="4"/>
      <dgm:spPr/>
    </dgm:pt>
    <dgm:pt modelId="{480CDF5D-0487-49FD-A46A-E8F0C7E9EFA8}" type="pres">
      <dgm:prSet presAssocID="{65C874C2-E4AE-42C7-9CCC-45B98CD31C6B}" presName="compChildNode" presStyleCnt="0"/>
      <dgm:spPr/>
    </dgm:pt>
    <dgm:pt modelId="{895205D1-8829-45B5-925E-7E315F9360C9}" type="pres">
      <dgm:prSet presAssocID="{65C874C2-E4AE-42C7-9CCC-45B98CD31C6B}" presName="theInnerList" presStyleCnt="0"/>
      <dgm:spPr/>
    </dgm:pt>
    <dgm:pt modelId="{8EC8B0CB-96DB-4B40-B6E6-EB83F0414DE9}" type="pres">
      <dgm:prSet presAssocID="{34411D3F-D89C-4D89-A7EA-824CE926B80B}" presName="childNode" presStyleLbl="node1" presStyleIdx="9" presStyleCnt="12">
        <dgm:presLayoutVars>
          <dgm:bulletEnabled val="1"/>
        </dgm:presLayoutVars>
      </dgm:prSet>
      <dgm:spPr/>
    </dgm:pt>
    <dgm:pt modelId="{A0440CA1-42F1-46AA-ACE9-EAB69383E164}" type="pres">
      <dgm:prSet presAssocID="{34411D3F-D89C-4D89-A7EA-824CE926B80B}" presName="aSpace2" presStyleCnt="0"/>
      <dgm:spPr/>
    </dgm:pt>
    <dgm:pt modelId="{DB57D0CC-B6A0-4098-9243-E7B618F0F2F1}" type="pres">
      <dgm:prSet presAssocID="{BACBBC37-538D-4E62-96CE-411E9E8BE57A}" presName="childNode" presStyleLbl="node1" presStyleIdx="10" presStyleCnt="12">
        <dgm:presLayoutVars>
          <dgm:bulletEnabled val="1"/>
        </dgm:presLayoutVars>
      </dgm:prSet>
      <dgm:spPr/>
    </dgm:pt>
    <dgm:pt modelId="{99FA9382-AECE-4C4B-88EE-76BA4B820EAA}" type="pres">
      <dgm:prSet presAssocID="{BACBBC37-538D-4E62-96CE-411E9E8BE57A}" presName="aSpace2" presStyleCnt="0"/>
      <dgm:spPr/>
    </dgm:pt>
    <dgm:pt modelId="{A781167B-64A6-4277-88AD-D6A8881C8FA9}" type="pres">
      <dgm:prSet presAssocID="{E69C79C2-4D4B-421A-B054-D2204158FDA0}" presName="childNode" presStyleLbl="node1" presStyleIdx="11" presStyleCnt="12">
        <dgm:presLayoutVars>
          <dgm:bulletEnabled val="1"/>
        </dgm:presLayoutVars>
      </dgm:prSet>
      <dgm:spPr/>
    </dgm:pt>
  </dgm:ptLst>
  <dgm:cxnLst>
    <dgm:cxn modelId="{EA395202-278D-4D38-BDDE-9A60C6D68D71}" srcId="{08BEB54E-7C0F-498D-B913-4C9640BA6C71}" destId="{7D2C0E65-75DE-4242-9D62-31BB91237777}" srcOrd="1" destOrd="0" parTransId="{631853B6-5BEF-4F67-AC90-F35A2C607143}" sibTransId="{3D76EF8E-F219-46EC-8BC4-827AB83D9EB4}"/>
    <dgm:cxn modelId="{FE9BD202-3AA1-440B-8E3F-4B0D2D879150}" srcId="{08BEB54E-7C0F-498D-B913-4C9640BA6C71}" destId="{2E0BD6D5-FEF1-4A19-964E-0FD95EA2EA41}" srcOrd="2" destOrd="0" parTransId="{B227721B-BF55-42AF-ABA2-7A2580F0EB79}" sibTransId="{BA32C39A-B710-4095-85AF-A6CF5B79B6FB}"/>
    <dgm:cxn modelId="{D2813809-21DC-4451-9788-1BB523D993DC}" type="presOf" srcId="{2D0FE0DF-247E-47D3-A6E4-3F67421C2277}" destId="{1095A64F-8AE9-4193-81AE-C1EF826663D0}" srcOrd="0" destOrd="0" presId="urn:microsoft.com/office/officeart/2005/8/layout/lProcess2"/>
    <dgm:cxn modelId="{A166490A-F8AD-4395-856E-964FB57FD9CD}" type="presOf" srcId="{2D0FE0DF-247E-47D3-A6E4-3F67421C2277}" destId="{D98C41DF-CC38-4F98-9F6C-06DBF6AD4C5B}" srcOrd="1" destOrd="0" presId="urn:microsoft.com/office/officeart/2005/8/layout/lProcess2"/>
    <dgm:cxn modelId="{C22F6524-BE9E-4073-9E30-D5140BBF8B24}" type="presOf" srcId="{D363EFFC-0E21-45BB-BDFA-025652EA9AA2}" destId="{D984233B-EA55-4177-AE48-52FFF4092240}" srcOrd="0" destOrd="0" presId="urn:microsoft.com/office/officeart/2005/8/layout/lProcess2"/>
    <dgm:cxn modelId="{63FF2926-2E4D-4448-BCEA-5D985545772E}" type="presOf" srcId="{65C874C2-E4AE-42C7-9CCC-45B98CD31C6B}" destId="{91FB0EA6-5A99-44FD-B27B-18AA9ADAAF03}" srcOrd="1" destOrd="0" presId="urn:microsoft.com/office/officeart/2005/8/layout/lProcess2"/>
    <dgm:cxn modelId="{8FC7AC30-31A9-43F6-976D-A9D53A5F7221}" type="presOf" srcId="{BBD264C5-79FF-4BC3-94FB-B126D3894194}" destId="{E23E4B55-80CC-4507-A6DA-A3EE92F71D2B}" srcOrd="0" destOrd="0" presId="urn:microsoft.com/office/officeart/2005/8/layout/lProcess2"/>
    <dgm:cxn modelId="{AA228137-FA9E-4CDF-BDC1-A67E8D4EF2DF}" type="presOf" srcId="{7D2C0E65-75DE-4242-9D62-31BB91237777}" destId="{268D3A7A-F93C-4C57-AF69-B433BE269048}" srcOrd="0" destOrd="0" presId="urn:microsoft.com/office/officeart/2005/8/layout/lProcess2"/>
    <dgm:cxn modelId="{8B4BBD38-10A8-4F50-BECF-A462B195C60D}" type="presOf" srcId="{BACBBC37-538D-4E62-96CE-411E9E8BE57A}" destId="{DB57D0CC-B6A0-4098-9243-E7B618F0F2F1}" srcOrd="0" destOrd="0" presId="urn:microsoft.com/office/officeart/2005/8/layout/lProcess2"/>
    <dgm:cxn modelId="{150E8C39-8D08-4815-8EC4-BDCBDB88A0F1}" srcId="{2D0FE0DF-247E-47D3-A6E4-3F67421C2277}" destId="{BBD264C5-79FF-4BC3-94FB-B126D3894194}" srcOrd="2" destOrd="0" parTransId="{A973357D-908D-4898-BCC6-1B2D375CC913}" sibTransId="{5F531EBD-933B-495E-8BD6-D1E7F5F4C83D}"/>
    <dgm:cxn modelId="{0CA71B43-0A48-4B49-86DC-55FA2D92D774}" type="presOf" srcId="{08BEB54E-7C0F-498D-B913-4C9640BA6C71}" destId="{70F9CCC7-7DFB-4950-A9CD-8633B6885754}" srcOrd="1" destOrd="0" presId="urn:microsoft.com/office/officeart/2005/8/layout/lProcess2"/>
    <dgm:cxn modelId="{40530A68-D188-46BC-812C-F3D7A710DBCD}" type="presOf" srcId="{999495D1-AB8A-4D04-A483-AAFCBA0EC900}" destId="{0F7011D2-A5AF-4794-BD43-A7FCA5BAE9A9}" srcOrd="0" destOrd="0" presId="urn:microsoft.com/office/officeart/2005/8/layout/lProcess2"/>
    <dgm:cxn modelId="{C5CFC36C-4906-4735-A0BA-EF7A134A3693}" srcId="{10AC819C-932E-4409-935E-5E92CA5070E1}" destId="{999495D1-AB8A-4D04-A483-AAFCBA0EC900}" srcOrd="0" destOrd="0" parTransId="{AE9BF71A-4E36-4C40-AB5C-022B4E42E106}" sibTransId="{30F3B786-235C-4AC0-9BBA-F53BEB19C779}"/>
    <dgm:cxn modelId="{1A3B6053-3A0B-4E8A-B092-D7E9FCBAF8D1}" type="presOf" srcId="{38D3FA2D-B909-4B75-874A-2436B3581266}" destId="{0E2737C2-F58F-4E12-81B0-5C364DC5D99F}" srcOrd="0" destOrd="0" presId="urn:microsoft.com/office/officeart/2005/8/layout/lProcess2"/>
    <dgm:cxn modelId="{6C75BC76-12AC-48C5-8705-C1F8C14A34DF}" type="presOf" srcId="{9875D474-5E2A-4359-80F5-8A7DC905583B}" destId="{FF4B2263-CDDA-405F-8CFB-87F487FFF744}" srcOrd="0" destOrd="0" presId="urn:microsoft.com/office/officeart/2005/8/layout/lProcess2"/>
    <dgm:cxn modelId="{17E91877-3FBB-42B7-A9AB-1BFAB9F73D92}" type="presOf" srcId="{E69C79C2-4D4B-421A-B054-D2204158FDA0}" destId="{A781167B-64A6-4277-88AD-D6A8881C8FA9}" srcOrd="0" destOrd="0" presId="urn:microsoft.com/office/officeart/2005/8/layout/lProcess2"/>
    <dgm:cxn modelId="{DE96D47B-6E56-42BF-8747-77646D1FDA8A}" srcId="{65C874C2-E4AE-42C7-9CCC-45B98CD31C6B}" destId="{BACBBC37-538D-4E62-96CE-411E9E8BE57A}" srcOrd="1" destOrd="0" parTransId="{1C15ABB7-0183-4F78-81B0-E76975AF974C}" sibTransId="{B4A53230-B936-41D2-A5A1-8B58B8BB2F32}"/>
    <dgm:cxn modelId="{47F32282-3914-4E80-AE3F-220F5DA9A062}" srcId="{10AC819C-932E-4409-935E-5E92CA5070E1}" destId="{2D0FE0DF-247E-47D3-A6E4-3F67421C2277}" srcOrd="1" destOrd="0" parTransId="{98457B52-9FF3-4666-8AFF-CC22EADDBB31}" sibTransId="{DFF1E22A-9A71-4205-8E0C-93CFCFB0B4B8}"/>
    <dgm:cxn modelId="{F4199A8F-CEF0-433D-B8AF-7129C497A81E}" type="presOf" srcId="{F62A0254-1578-4AD0-B15D-652A7D627487}" destId="{BEFB6ABF-F2E5-440F-8E1F-E01E0A414B2C}" srcOrd="0" destOrd="0" presId="urn:microsoft.com/office/officeart/2005/8/layout/lProcess2"/>
    <dgm:cxn modelId="{51991E90-5772-4FA5-872C-B5CAECC39A14}" srcId="{2D0FE0DF-247E-47D3-A6E4-3F67421C2277}" destId="{9875D474-5E2A-4359-80F5-8A7DC905583B}" srcOrd="1" destOrd="0" parTransId="{79A95963-76DD-4AA3-B3C4-DA1F03D4E8E3}" sibTransId="{3834F53B-3709-46C4-947A-2E444704DA52}"/>
    <dgm:cxn modelId="{5B0613A6-F998-4224-9EC3-88C294BB3307}" type="presOf" srcId="{34411D3F-D89C-4D89-A7EA-824CE926B80B}" destId="{8EC8B0CB-96DB-4B40-B6E6-EB83F0414DE9}" srcOrd="0" destOrd="0" presId="urn:microsoft.com/office/officeart/2005/8/layout/lProcess2"/>
    <dgm:cxn modelId="{AD1DD4A6-7F2A-4182-9E62-993B8D37B673}" type="presOf" srcId="{2E0BD6D5-FEF1-4A19-964E-0FD95EA2EA41}" destId="{426FAD5B-1944-40CE-8BE6-D33BE0ED480A}" srcOrd="0" destOrd="0" presId="urn:microsoft.com/office/officeart/2005/8/layout/lProcess2"/>
    <dgm:cxn modelId="{9ACA93AB-B816-4C64-A6A7-952701FD8FA7}" type="presOf" srcId="{999495D1-AB8A-4D04-A483-AAFCBA0EC900}" destId="{4D8996C3-1655-46DD-821A-57489178191A}" srcOrd="1" destOrd="0" presId="urn:microsoft.com/office/officeart/2005/8/layout/lProcess2"/>
    <dgm:cxn modelId="{626B71B2-8DE9-42C4-B45B-46A1CCD55E2E}" srcId="{10AC819C-932E-4409-935E-5E92CA5070E1}" destId="{65C874C2-E4AE-42C7-9CCC-45B98CD31C6B}" srcOrd="3" destOrd="0" parTransId="{F9ACEEC3-39AF-4CCD-B456-0873BA0F56EF}" sibTransId="{3557BE09-06F5-4BB9-A73C-5CB419D6F143}"/>
    <dgm:cxn modelId="{EE5C32B7-C39B-4112-9A8B-1F66CD270A3B}" srcId="{08BEB54E-7C0F-498D-B913-4C9640BA6C71}" destId="{9516B312-CCDF-4B00-93AC-865BC3BF202F}" srcOrd="0" destOrd="0" parTransId="{2A757487-E5F4-4F08-96F6-29F1FAD7BDFB}" sibTransId="{8BF7F262-68A2-43F3-899B-86BCA942BD18}"/>
    <dgm:cxn modelId="{66765EB7-0D9C-400E-8E95-AE2549F1A472}" srcId="{10AC819C-932E-4409-935E-5E92CA5070E1}" destId="{08BEB54E-7C0F-498D-B913-4C9640BA6C71}" srcOrd="2" destOrd="0" parTransId="{41B8003C-50EB-481C-9AEA-9D8CC0366AE5}" sibTransId="{06C81CCD-512F-434B-AA39-9540BDE6269B}"/>
    <dgm:cxn modelId="{211097B7-797A-4BE9-A69F-3A38DB27D14C}" srcId="{65C874C2-E4AE-42C7-9CCC-45B98CD31C6B}" destId="{E69C79C2-4D4B-421A-B054-D2204158FDA0}" srcOrd="2" destOrd="0" parTransId="{D0676B79-27C6-440C-AAF0-5EA9B4340B41}" sibTransId="{232C0049-3A87-4A98-936A-061BF1EF5429}"/>
    <dgm:cxn modelId="{30FCBAB7-18C7-47DA-9A39-40E48A9DEB9F}" srcId="{999495D1-AB8A-4D04-A483-AAFCBA0EC900}" destId="{38D3FA2D-B909-4B75-874A-2436B3581266}" srcOrd="1" destOrd="0" parTransId="{4D0D0D4F-DFA0-46CB-BCBB-84EFA59F0C0F}" sibTransId="{7C91AC58-C6AE-45A9-B5DD-3F3742CE161E}"/>
    <dgm:cxn modelId="{D9243DBC-372E-467F-8F96-04999DF705E0}" type="presOf" srcId="{65C874C2-E4AE-42C7-9CCC-45B98CD31C6B}" destId="{F592FFF9-DBA5-41D3-8C7C-EAE434B0ECE5}" srcOrd="0" destOrd="0" presId="urn:microsoft.com/office/officeart/2005/8/layout/lProcess2"/>
    <dgm:cxn modelId="{AFDB3CC0-855E-4AC1-8107-4834792D225B}" type="presOf" srcId="{10AC819C-932E-4409-935E-5E92CA5070E1}" destId="{279029A4-2649-491F-A026-0D06054CB4D0}" srcOrd="0" destOrd="0" presId="urn:microsoft.com/office/officeart/2005/8/layout/lProcess2"/>
    <dgm:cxn modelId="{9DAD89CB-DEFD-4DCD-A1A2-73E88D6B8A15}" srcId="{2D0FE0DF-247E-47D3-A6E4-3F67421C2277}" destId="{F62A0254-1578-4AD0-B15D-652A7D627487}" srcOrd="0" destOrd="0" parTransId="{B557C9CA-ECC3-4026-B097-C3E297740DB9}" sibTransId="{B582E5D1-6080-4B74-B883-29283C8D2F0B}"/>
    <dgm:cxn modelId="{3BCBAAE5-74B0-4A3E-BD52-6074358AC6DA}" srcId="{999495D1-AB8A-4D04-A483-AAFCBA0EC900}" destId="{D363EFFC-0E21-45BB-BDFA-025652EA9AA2}" srcOrd="2" destOrd="0" parTransId="{6B64DF02-5E0A-4852-8848-7B5861B30FE3}" sibTransId="{18BDEC0E-CC39-483C-84DE-B6CCAC897326}"/>
    <dgm:cxn modelId="{7A5D71E7-B703-425D-A8E2-C680A16AFBCA}" srcId="{65C874C2-E4AE-42C7-9CCC-45B98CD31C6B}" destId="{34411D3F-D89C-4D89-A7EA-824CE926B80B}" srcOrd="0" destOrd="0" parTransId="{E73944F4-3988-471E-AAA2-D24C41CD9C81}" sibTransId="{578FD839-A611-4B51-B822-2BACBAE7B81B}"/>
    <dgm:cxn modelId="{9C0BDFE8-A30A-40C3-9C5C-11FAB9E524C4}" srcId="{999495D1-AB8A-4D04-A483-AAFCBA0EC900}" destId="{A55B1BAD-BE5F-4DEE-9C48-E55535E84930}" srcOrd="0" destOrd="0" parTransId="{C3D561B0-D131-434D-91C2-CB0E716C55CD}" sibTransId="{3783AF11-DEF5-4A57-81F3-16A1822F4507}"/>
    <dgm:cxn modelId="{06F582EA-7A57-41EF-A0D5-726EDE410FF0}" type="presOf" srcId="{9516B312-CCDF-4B00-93AC-865BC3BF202F}" destId="{6FA3D22E-DCC4-42D2-B66E-F0FED99AFA68}" srcOrd="0" destOrd="0" presId="urn:microsoft.com/office/officeart/2005/8/layout/lProcess2"/>
    <dgm:cxn modelId="{430F11F2-7247-411A-96B8-83C06A2DE14E}" type="presOf" srcId="{A55B1BAD-BE5F-4DEE-9C48-E55535E84930}" destId="{D60B30AA-8DA9-4EC1-A504-63461038DD05}" srcOrd="0" destOrd="0" presId="urn:microsoft.com/office/officeart/2005/8/layout/lProcess2"/>
    <dgm:cxn modelId="{DE8B42FA-ADE7-4D0A-938E-B8A0AF55CC9C}" type="presOf" srcId="{08BEB54E-7C0F-498D-B913-4C9640BA6C71}" destId="{CA438F45-983A-4572-94FF-A2A8EFD54C3B}" srcOrd="0" destOrd="0" presId="urn:microsoft.com/office/officeart/2005/8/layout/lProcess2"/>
    <dgm:cxn modelId="{BDA6367C-6437-4F2C-A3A5-DEA798B53667}" type="presParOf" srcId="{279029A4-2649-491F-A026-0D06054CB4D0}" destId="{1E9690C7-63FA-4529-BBEE-85FDDE57C89A}" srcOrd="0" destOrd="0" presId="urn:microsoft.com/office/officeart/2005/8/layout/lProcess2"/>
    <dgm:cxn modelId="{E60EB1C5-9FBA-4C0C-9792-EEF1C4FB4469}" type="presParOf" srcId="{1E9690C7-63FA-4529-BBEE-85FDDE57C89A}" destId="{0F7011D2-A5AF-4794-BD43-A7FCA5BAE9A9}" srcOrd="0" destOrd="0" presId="urn:microsoft.com/office/officeart/2005/8/layout/lProcess2"/>
    <dgm:cxn modelId="{A3E96F7B-F2FC-415C-B4F8-E48C5343AB39}" type="presParOf" srcId="{1E9690C7-63FA-4529-BBEE-85FDDE57C89A}" destId="{4D8996C3-1655-46DD-821A-57489178191A}" srcOrd="1" destOrd="0" presId="urn:microsoft.com/office/officeart/2005/8/layout/lProcess2"/>
    <dgm:cxn modelId="{FA70CF5B-290E-4E6F-8079-4AED8FA21732}" type="presParOf" srcId="{1E9690C7-63FA-4529-BBEE-85FDDE57C89A}" destId="{18C29045-D9E0-4794-B101-370CDBF77B20}" srcOrd="2" destOrd="0" presId="urn:microsoft.com/office/officeart/2005/8/layout/lProcess2"/>
    <dgm:cxn modelId="{8FCF9E62-2353-4753-8B26-25AE5F97EE3B}" type="presParOf" srcId="{18C29045-D9E0-4794-B101-370CDBF77B20}" destId="{010C1F1A-57D9-460C-9BAB-AA728CBD3C68}" srcOrd="0" destOrd="0" presId="urn:microsoft.com/office/officeart/2005/8/layout/lProcess2"/>
    <dgm:cxn modelId="{401CD689-44EC-4244-9B7C-99E4C7600E5A}" type="presParOf" srcId="{010C1F1A-57D9-460C-9BAB-AA728CBD3C68}" destId="{D60B30AA-8DA9-4EC1-A504-63461038DD05}" srcOrd="0" destOrd="0" presId="urn:microsoft.com/office/officeart/2005/8/layout/lProcess2"/>
    <dgm:cxn modelId="{060759A8-94B0-4046-BF64-F079694F2442}" type="presParOf" srcId="{010C1F1A-57D9-460C-9BAB-AA728CBD3C68}" destId="{95E7ACF7-9C37-4930-B8D2-E0819AB7E12C}" srcOrd="1" destOrd="0" presId="urn:microsoft.com/office/officeart/2005/8/layout/lProcess2"/>
    <dgm:cxn modelId="{1F514D7C-E767-49ED-A9B3-FE8EF824A882}" type="presParOf" srcId="{010C1F1A-57D9-460C-9BAB-AA728CBD3C68}" destId="{0E2737C2-F58F-4E12-81B0-5C364DC5D99F}" srcOrd="2" destOrd="0" presId="urn:microsoft.com/office/officeart/2005/8/layout/lProcess2"/>
    <dgm:cxn modelId="{EE0A93D3-0BB2-4D6E-BF6D-595C5345D1E2}" type="presParOf" srcId="{010C1F1A-57D9-460C-9BAB-AA728CBD3C68}" destId="{63EEC92E-5C3B-4D26-A6D6-DAD46C9F9E0E}" srcOrd="3" destOrd="0" presId="urn:microsoft.com/office/officeart/2005/8/layout/lProcess2"/>
    <dgm:cxn modelId="{871D2747-8103-49E8-8869-06E8B5C5FA26}" type="presParOf" srcId="{010C1F1A-57D9-460C-9BAB-AA728CBD3C68}" destId="{D984233B-EA55-4177-AE48-52FFF4092240}" srcOrd="4" destOrd="0" presId="urn:microsoft.com/office/officeart/2005/8/layout/lProcess2"/>
    <dgm:cxn modelId="{7DD30325-599A-4603-9BA9-13E287B06BDB}" type="presParOf" srcId="{279029A4-2649-491F-A026-0D06054CB4D0}" destId="{566311E1-7B95-46AF-A47C-A63F374BE6FE}" srcOrd="1" destOrd="0" presId="urn:microsoft.com/office/officeart/2005/8/layout/lProcess2"/>
    <dgm:cxn modelId="{AB15FBD9-5C2B-4A3F-A928-90E2A20E297C}" type="presParOf" srcId="{279029A4-2649-491F-A026-0D06054CB4D0}" destId="{4ABB2462-1D8F-4DAF-8955-14364A36AB67}" srcOrd="2" destOrd="0" presId="urn:microsoft.com/office/officeart/2005/8/layout/lProcess2"/>
    <dgm:cxn modelId="{15C99BA8-448F-410C-99E2-480DC8DD58C5}" type="presParOf" srcId="{4ABB2462-1D8F-4DAF-8955-14364A36AB67}" destId="{1095A64F-8AE9-4193-81AE-C1EF826663D0}" srcOrd="0" destOrd="0" presId="urn:microsoft.com/office/officeart/2005/8/layout/lProcess2"/>
    <dgm:cxn modelId="{9E7CB1C0-0546-4422-AAC5-DC9BE91D5221}" type="presParOf" srcId="{4ABB2462-1D8F-4DAF-8955-14364A36AB67}" destId="{D98C41DF-CC38-4F98-9F6C-06DBF6AD4C5B}" srcOrd="1" destOrd="0" presId="urn:microsoft.com/office/officeart/2005/8/layout/lProcess2"/>
    <dgm:cxn modelId="{6FA74D85-A136-46A9-8B40-D886A03E155F}" type="presParOf" srcId="{4ABB2462-1D8F-4DAF-8955-14364A36AB67}" destId="{CB85468D-253E-4D86-9ED9-ADE181AB31BA}" srcOrd="2" destOrd="0" presId="urn:microsoft.com/office/officeart/2005/8/layout/lProcess2"/>
    <dgm:cxn modelId="{C5067D47-8075-48C6-9DE1-B79C03BCA9EF}" type="presParOf" srcId="{CB85468D-253E-4D86-9ED9-ADE181AB31BA}" destId="{44C01B9E-15BF-4BB5-AAC1-D884D31EFBDE}" srcOrd="0" destOrd="0" presId="urn:microsoft.com/office/officeart/2005/8/layout/lProcess2"/>
    <dgm:cxn modelId="{A6095274-6FB5-4A1B-8E6B-25B190739B09}" type="presParOf" srcId="{44C01B9E-15BF-4BB5-AAC1-D884D31EFBDE}" destId="{BEFB6ABF-F2E5-440F-8E1F-E01E0A414B2C}" srcOrd="0" destOrd="0" presId="urn:microsoft.com/office/officeart/2005/8/layout/lProcess2"/>
    <dgm:cxn modelId="{9512683F-A513-43C4-B972-405100C816E6}" type="presParOf" srcId="{44C01B9E-15BF-4BB5-AAC1-D884D31EFBDE}" destId="{DD845F0C-DBE4-4CCA-9DE4-ED79DED533A0}" srcOrd="1" destOrd="0" presId="urn:microsoft.com/office/officeart/2005/8/layout/lProcess2"/>
    <dgm:cxn modelId="{A90E1CA2-293B-4F43-8DB0-5077EDC3550F}" type="presParOf" srcId="{44C01B9E-15BF-4BB5-AAC1-D884D31EFBDE}" destId="{FF4B2263-CDDA-405F-8CFB-87F487FFF744}" srcOrd="2" destOrd="0" presId="urn:microsoft.com/office/officeart/2005/8/layout/lProcess2"/>
    <dgm:cxn modelId="{8EC1F7F6-181C-4A06-B722-C8AE5B8B3BF4}" type="presParOf" srcId="{44C01B9E-15BF-4BB5-AAC1-D884D31EFBDE}" destId="{2C6F978A-3377-409C-843D-E42E0F5CC9ED}" srcOrd="3" destOrd="0" presId="urn:microsoft.com/office/officeart/2005/8/layout/lProcess2"/>
    <dgm:cxn modelId="{64A0CF8B-E9BB-4E5D-8803-C69E4FBE73ED}" type="presParOf" srcId="{44C01B9E-15BF-4BB5-AAC1-D884D31EFBDE}" destId="{E23E4B55-80CC-4507-A6DA-A3EE92F71D2B}" srcOrd="4" destOrd="0" presId="urn:microsoft.com/office/officeart/2005/8/layout/lProcess2"/>
    <dgm:cxn modelId="{A4A14D7B-B5ED-47A5-8400-E29C3A9A6885}" type="presParOf" srcId="{279029A4-2649-491F-A026-0D06054CB4D0}" destId="{90875953-DD7F-4627-94EE-B940C7BBFBA6}" srcOrd="3" destOrd="0" presId="urn:microsoft.com/office/officeart/2005/8/layout/lProcess2"/>
    <dgm:cxn modelId="{1F5715FC-ABA9-4AB4-99D6-71AC42534364}" type="presParOf" srcId="{279029A4-2649-491F-A026-0D06054CB4D0}" destId="{CE50AD81-F64D-430A-A5C0-F2C533989C54}" srcOrd="4" destOrd="0" presId="urn:microsoft.com/office/officeart/2005/8/layout/lProcess2"/>
    <dgm:cxn modelId="{7CD0A408-84F0-4199-9694-F442376D4983}" type="presParOf" srcId="{CE50AD81-F64D-430A-A5C0-F2C533989C54}" destId="{CA438F45-983A-4572-94FF-A2A8EFD54C3B}" srcOrd="0" destOrd="0" presId="urn:microsoft.com/office/officeart/2005/8/layout/lProcess2"/>
    <dgm:cxn modelId="{6CD9A646-44A7-4E7F-8EF6-7C68CDAA5DA8}" type="presParOf" srcId="{CE50AD81-F64D-430A-A5C0-F2C533989C54}" destId="{70F9CCC7-7DFB-4950-A9CD-8633B6885754}" srcOrd="1" destOrd="0" presId="urn:microsoft.com/office/officeart/2005/8/layout/lProcess2"/>
    <dgm:cxn modelId="{37DB9347-A95B-40E9-9730-5F019FE9BB1C}" type="presParOf" srcId="{CE50AD81-F64D-430A-A5C0-F2C533989C54}" destId="{23650E3B-9E2A-4B1E-A716-5E98351B0D96}" srcOrd="2" destOrd="0" presId="urn:microsoft.com/office/officeart/2005/8/layout/lProcess2"/>
    <dgm:cxn modelId="{8286271C-147B-48CE-BEA7-E76367AD72D1}" type="presParOf" srcId="{23650E3B-9E2A-4B1E-A716-5E98351B0D96}" destId="{A05CF6BD-D05A-4534-8701-837595C37E91}" srcOrd="0" destOrd="0" presId="urn:microsoft.com/office/officeart/2005/8/layout/lProcess2"/>
    <dgm:cxn modelId="{B0C9172F-B6D8-400E-8935-BA5F14CA90F2}" type="presParOf" srcId="{A05CF6BD-D05A-4534-8701-837595C37E91}" destId="{6FA3D22E-DCC4-42D2-B66E-F0FED99AFA68}" srcOrd="0" destOrd="0" presId="urn:microsoft.com/office/officeart/2005/8/layout/lProcess2"/>
    <dgm:cxn modelId="{A321A917-F7B9-45F7-BD00-CEE789510E8F}" type="presParOf" srcId="{A05CF6BD-D05A-4534-8701-837595C37E91}" destId="{5A4711AE-7846-4ED4-8EB3-5DB1D42FA112}" srcOrd="1" destOrd="0" presId="urn:microsoft.com/office/officeart/2005/8/layout/lProcess2"/>
    <dgm:cxn modelId="{8C53B813-AD1C-4631-A05A-32AB043C00DF}" type="presParOf" srcId="{A05CF6BD-D05A-4534-8701-837595C37E91}" destId="{268D3A7A-F93C-4C57-AF69-B433BE269048}" srcOrd="2" destOrd="0" presId="urn:microsoft.com/office/officeart/2005/8/layout/lProcess2"/>
    <dgm:cxn modelId="{524F279B-C680-4EA0-9E16-7BADE58863A4}" type="presParOf" srcId="{A05CF6BD-D05A-4534-8701-837595C37E91}" destId="{72496BD6-1B62-4160-A821-DCEB69A34E68}" srcOrd="3" destOrd="0" presId="urn:microsoft.com/office/officeart/2005/8/layout/lProcess2"/>
    <dgm:cxn modelId="{0F30A526-17E8-41F5-9A4E-BD822D3E2CCC}" type="presParOf" srcId="{A05CF6BD-D05A-4534-8701-837595C37E91}" destId="{426FAD5B-1944-40CE-8BE6-D33BE0ED480A}" srcOrd="4" destOrd="0" presId="urn:microsoft.com/office/officeart/2005/8/layout/lProcess2"/>
    <dgm:cxn modelId="{ABF44FDC-FBE1-49C4-B5E8-BFD41F70A894}" type="presParOf" srcId="{279029A4-2649-491F-A026-0D06054CB4D0}" destId="{064EA2B5-71EB-402D-849C-0DB85B76FD0E}" srcOrd="5" destOrd="0" presId="urn:microsoft.com/office/officeart/2005/8/layout/lProcess2"/>
    <dgm:cxn modelId="{C920094A-F66D-4ED2-91EC-1A28A6D6ABCD}" type="presParOf" srcId="{279029A4-2649-491F-A026-0D06054CB4D0}" destId="{F6FEB3CE-84F8-42E5-A9F3-94FE5B993727}" srcOrd="6" destOrd="0" presId="urn:microsoft.com/office/officeart/2005/8/layout/lProcess2"/>
    <dgm:cxn modelId="{B4531F79-4C16-4A43-9267-27716E890434}" type="presParOf" srcId="{F6FEB3CE-84F8-42E5-A9F3-94FE5B993727}" destId="{F592FFF9-DBA5-41D3-8C7C-EAE434B0ECE5}" srcOrd="0" destOrd="0" presId="urn:microsoft.com/office/officeart/2005/8/layout/lProcess2"/>
    <dgm:cxn modelId="{519A32DC-CE6E-4616-A355-66F0CD2C6494}" type="presParOf" srcId="{F6FEB3CE-84F8-42E5-A9F3-94FE5B993727}" destId="{91FB0EA6-5A99-44FD-B27B-18AA9ADAAF03}" srcOrd="1" destOrd="0" presId="urn:microsoft.com/office/officeart/2005/8/layout/lProcess2"/>
    <dgm:cxn modelId="{2584F6F3-1A7F-462E-B933-2A1A85156B0C}" type="presParOf" srcId="{F6FEB3CE-84F8-42E5-A9F3-94FE5B993727}" destId="{480CDF5D-0487-49FD-A46A-E8F0C7E9EFA8}" srcOrd="2" destOrd="0" presId="urn:microsoft.com/office/officeart/2005/8/layout/lProcess2"/>
    <dgm:cxn modelId="{0BCD7638-C155-4347-B650-CDCCA2757479}" type="presParOf" srcId="{480CDF5D-0487-49FD-A46A-E8F0C7E9EFA8}" destId="{895205D1-8829-45B5-925E-7E315F9360C9}" srcOrd="0" destOrd="0" presId="urn:microsoft.com/office/officeart/2005/8/layout/lProcess2"/>
    <dgm:cxn modelId="{9943BB1F-50A8-4B34-845F-99890F4F351A}" type="presParOf" srcId="{895205D1-8829-45B5-925E-7E315F9360C9}" destId="{8EC8B0CB-96DB-4B40-B6E6-EB83F0414DE9}" srcOrd="0" destOrd="0" presId="urn:microsoft.com/office/officeart/2005/8/layout/lProcess2"/>
    <dgm:cxn modelId="{A0E8B815-EF38-411D-9CDD-D42FF9282B1C}" type="presParOf" srcId="{895205D1-8829-45B5-925E-7E315F9360C9}" destId="{A0440CA1-42F1-46AA-ACE9-EAB69383E164}" srcOrd="1" destOrd="0" presId="urn:microsoft.com/office/officeart/2005/8/layout/lProcess2"/>
    <dgm:cxn modelId="{B21A7F30-AF80-4EE5-92C2-37CB89754688}" type="presParOf" srcId="{895205D1-8829-45B5-925E-7E315F9360C9}" destId="{DB57D0CC-B6A0-4098-9243-E7B618F0F2F1}" srcOrd="2" destOrd="0" presId="urn:microsoft.com/office/officeart/2005/8/layout/lProcess2"/>
    <dgm:cxn modelId="{E7CED96A-5DED-40A4-90A0-4ED3D7E56DFF}" type="presParOf" srcId="{895205D1-8829-45B5-925E-7E315F9360C9}" destId="{99FA9382-AECE-4C4B-88EE-76BA4B820EAA}" srcOrd="3" destOrd="0" presId="urn:microsoft.com/office/officeart/2005/8/layout/lProcess2"/>
    <dgm:cxn modelId="{14C49EF2-9DB5-49BB-B12F-9457A00951DD}" type="presParOf" srcId="{895205D1-8829-45B5-925E-7E315F9360C9}" destId="{A781167B-64A6-4277-88AD-D6A8881C8FA9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035E530-F22D-45B5-805C-3958FE4337DF}" type="doc">
      <dgm:prSet loTypeId="urn:microsoft.com/office/officeart/2008/layout/CaptionedPicture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7B7147E-51D0-4016-B896-E447421FDFD1}">
      <dgm:prSet phldrT="[Text]"/>
      <dgm:spPr/>
      <dgm:t>
        <a:bodyPr/>
        <a:lstStyle/>
        <a:p>
          <a:r>
            <a:rPr lang="en-US"/>
            <a:t>Sec 30C: Alternative Fuel Property  </a:t>
          </a:r>
        </a:p>
      </dgm:t>
    </dgm:pt>
    <dgm:pt modelId="{6C1C0E7A-58A3-4C1D-B0DB-9D9A5C4C150E}" type="parTrans" cxnId="{3A01D2F6-3AD8-4171-9B1D-0ACCB545D340}">
      <dgm:prSet/>
      <dgm:spPr/>
      <dgm:t>
        <a:bodyPr/>
        <a:lstStyle/>
        <a:p>
          <a:endParaRPr lang="en-US"/>
        </a:p>
      </dgm:t>
    </dgm:pt>
    <dgm:pt modelId="{093FEF59-6DF0-4DCA-908D-9F0605785176}" type="sibTrans" cxnId="{3A01D2F6-3AD8-4171-9B1D-0ACCB545D340}">
      <dgm:prSet/>
      <dgm:spPr/>
      <dgm:t>
        <a:bodyPr/>
        <a:lstStyle/>
        <a:p>
          <a:endParaRPr lang="en-US"/>
        </a:p>
      </dgm:t>
    </dgm:pt>
    <dgm:pt modelId="{B3C563EB-939F-42AD-A4BD-C7CFD29078D1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b="1"/>
            <a:t>Fall River Heritage State Park </a:t>
          </a:r>
        </a:p>
      </dgm:t>
    </dgm:pt>
    <dgm:pt modelId="{10CF7230-1D6F-4014-B488-F818FF56A071}" type="parTrans" cxnId="{EC9645E2-249B-4216-B66A-EC87DEECA7C5}">
      <dgm:prSet/>
      <dgm:spPr/>
      <dgm:t>
        <a:bodyPr/>
        <a:lstStyle/>
        <a:p>
          <a:endParaRPr lang="en-US"/>
        </a:p>
      </dgm:t>
    </dgm:pt>
    <dgm:pt modelId="{95E25AE7-AEA2-4270-B4D2-C7A77A97B1A6}" type="sibTrans" cxnId="{EC9645E2-249B-4216-B66A-EC87DEECA7C5}">
      <dgm:prSet/>
      <dgm:spPr/>
      <dgm:t>
        <a:bodyPr/>
        <a:lstStyle/>
        <a:p>
          <a:endParaRPr lang="en-US"/>
        </a:p>
      </dgm:t>
    </dgm:pt>
    <dgm:pt modelId="{4BDC7D29-AACF-446D-9046-CB417CD002BF}">
      <dgm:prSet phldrT="[Text]"/>
      <dgm:spPr/>
      <dgm:t>
        <a:bodyPr/>
        <a:lstStyle/>
        <a:p>
          <a:r>
            <a:rPr lang="en-US"/>
            <a:t>Sec. 45W: Commercial EVs </a:t>
          </a:r>
        </a:p>
      </dgm:t>
    </dgm:pt>
    <dgm:pt modelId="{18C1D93B-2DB7-42E8-B834-49BC85DE5FDA}" type="parTrans" cxnId="{D8EEF045-B945-4A43-BBF7-C2B07559E26F}">
      <dgm:prSet/>
      <dgm:spPr/>
      <dgm:t>
        <a:bodyPr/>
        <a:lstStyle/>
        <a:p>
          <a:endParaRPr lang="en-US"/>
        </a:p>
      </dgm:t>
    </dgm:pt>
    <dgm:pt modelId="{ED27DE95-01C0-494D-A47D-164B1ABFCE6F}" type="sibTrans" cxnId="{D8EEF045-B945-4A43-BBF7-C2B07559E26F}">
      <dgm:prSet/>
      <dgm:spPr/>
      <dgm:t>
        <a:bodyPr/>
        <a:lstStyle/>
        <a:p>
          <a:endParaRPr lang="en-US"/>
        </a:p>
      </dgm:t>
    </dgm:pt>
    <dgm:pt modelId="{585194AD-E3DE-4CF7-B310-5F4341E1E095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b="1"/>
            <a:t>Dozens of light EVs purchased by OSD</a:t>
          </a:r>
        </a:p>
      </dgm:t>
    </dgm:pt>
    <dgm:pt modelId="{51501264-0B8D-4049-8754-4477C63BD533}" type="parTrans" cxnId="{E8C4C9E5-6D03-4FFF-9C3D-744E3AC44556}">
      <dgm:prSet/>
      <dgm:spPr/>
      <dgm:t>
        <a:bodyPr/>
        <a:lstStyle/>
        <a:p>
          <a:endParaRPr lang="en-US"/>
        </a:p>
      </dgm:t>
    </dgm:pt>
    <dgm:pt modelId="{A5AB03CB-2539-47D0-8200-3EB864F4FCB9}" type="sibTrans" cxnId="{E8C4C9E5-6D03-4FFF-9C3D-744E3AC44556}">
      <dgm:prSet/>
      <dgm:spPr/>
      <dgm:t>
        <a:bodyPr/>
        <a:lstStyle/>
        <a:p>
          <a:endParaRPr lang="en-US"/>
        </a:p>
      </dgm:t>
    </dgm:pt>
    <dgm:pt modelId="{9095C40B-8EC1-492D-87C0-8B7263DD2677}">
      <dgm:prSet phldrT="[Text]"/>
      <dgm:spPr/>
      <dgm:t>
        <a:bodyPr/>
        <a:lstStyle/>
        <a:p>
          <a:r>
            <a:rPr lang="en-US"/>
            <a:t>Sec. 45: Investment Tax Credit </a:t>
          </a:r>
        </a:p>
      </dgm:t>
    </dgm:pt>
    <dgm:pt modelId="{29D6F10B-C830-43E6-8285-E3557099D031}" type="parTrans" cxnId="{D8D6C078-78FA-49AB-8038-5E79B34D8444}">
      <dgm:prSet/>
      <dgm:spPr/>
      <dgm:t>
        <a:bodyPr/>
        <a:lstStyle/>
        <a:p>
          <a:endParaRPr lang="en-US"/>
        </a:p>
      </dgm:t>
    </dgm:pt>
    <dgm:pt modelId="{89D44218-CC5F-4AE1-8C94-1F833A4F50BE}" type="sibTrans" cxnId="{D8D6C078-78FA-49AB-8038-5E79B34D8444}">
      <dgm:prSet/>
      <dgm:spPr/>
      <dgm:t>
        <a:bodyPr/>
        <a:lstStyle/>
        <a:p>
          <a:endParaRPr lang="en-US"/>
        </a:p>
      </dgm:t>
    </dgm:pt>
    <dgm:pt modelId="{D26F3F15-FB86-423F-9BB0-D9FAF52843F9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b="1"/>
            <a:t>Solar and Geothermal Projects at the Veterans’ Home in Chelsea</a:t>
          </a:r>
        </a:p>
      </dgm:t>
    </dgm:pt>
    <dgm:pt modelId="{26CBCBF2-F375-46C3-BE8A-82FAC6AA6125}" type="parTrans" cxnId="{9C17CED9-33D1-4D48-A682-566F0592E8D8}">
      <dgm:prSet/>
      <dgm:spPr/>
      <dgm:t>
        <a:bodyPr/>
        <a:lstStyle/>
        <a:p>
          <a:endParaRPr lang="en-US"/>
        </a:p>
      </dgm:t>
    </dgm:pt>
    <dgm:pt modelId="{B727DF39-D805-474A-AD57-0B737F515E18}" type="sibTrans" cxnId="{9C17CED9-33D1-4D48-A682-566F0592E8D8}">
      <dgm:prSet/>
      <dgm:spPr/>
      <dgm:t>
        <a:bodyPr/>
        <a:lstStyle/>
        <a:p>
          <a:endParaRPr lang="en-US"/>
        </a:p>
      </dgm:t>
    </dgm:pt>
    <dgm:pt modelId="{A8315ED7-0ACA-460F-A5D9-2E55302F28B0}" type="pres">
      <dgm:prSet presAssocID="{6035E530-F22D-45B5-805C-3958FE4337DF}" presName="Name0" presStyleCnt="0">
        <dgm:presLayoutVars>
          <dgm:chMax/>
          <dgm:chPref/>
          <dgm:dir/>
        </dgm:presLayoutVars>
      </dgm:prSet>
      <dgm:spPr/>
    </dgm:pt>
    <dgm:pt modelId="{E178825B-A5D3-4619-ADDA-58CD17B8E343}" type="pres">
      <dgm:prSet presAssocID="{57B7147E-51D0-4016-B896-E447421FDFD1}" presName="composite" presStyleCnt="0">
        <dgm:presLayoutVars>
          <dgm:chMax val="1"/>
          <dgm:chPref val="1"/>
        </dgm:presLayoutVars>
      </dgm:prSet>
      <dgm:spPr/>
    </dgm:pt>
    <dgm:pt modelId="{43EE87EE-A783-4865-80CA-021A774017DF}" type="pres">
      <dgm:prSet presAssocID="{57B7147E-51D0-4016-B896-E447421FDFD1}" presName="Accent" presStyleLbl="trAlignAcc1" presStyleIdx="0" presStyleCnt="3">
        <dgm:presLayoutVars>
          <dgm:chMax val="0"/>
          <dgm:chPref val="0"/>
        </dgm:presLayoutVars>
      </dgm:prSet>
      <dgm:spPr/>
    </dgm:pt>
    <dgm:pt modelId="{C12376E9-B7ED-463B-9FC0-D4EE34EBF2A5}" type="pres">
      <dgm:prSet presAssocID="{57B7147E-51D0-4016-B896-E447421FDFD1}" presName="Image" presStyleLbl="alignImgPlace1" presStyleIdx="0" presStyleCnt="3">
        <dgm:presLayoutVars>
          <dgm:chMax val="0"/>
          <dgm:chPref val="0"/>
        </dgm:presLayoutVars>
      </dgm:prSet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</dgm:spPr>
    </dgm:pt>
    <dgm:pt modelId="{C3D524B3-91AB-4CF3-9B5E-6CD7237B501B}" type="pres">
      <dgm:prSet presAssocID="{57B7147E-51D0-4016-B896-E447421FDFD1}" presName="ChildComposite" presStyleCnt="0"/>
      <dgm:spPr/>
    </dgm:pt>
    <dgm:pt modelId="{9E315177-FB0D-4AF5-BD02-1C2ED00FEF8A}" type="pres">
      <dgm:prSet presAssocID="{57B7147E-51D0-4016-B896-E447421FDFD1}" presName="Child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ED287025-EAB5-4F59-B9FE-4CC7BD00E793}" type="pres">
      <dgm:prSet presAssocID="{57B7147E-51D0-4016-B896-E447421FDFD1}" presName="Parent" presStyleLbl="revTx" presStyleIdx="0" presStyleCnt="3">
        <dgm:presLayoutVars>
          <dgm:chMax val="1"/>
          <dgm:chPref val="0"/>
          <dgm:bulletEnabled val="1"/>
        </dgm:presLayoutVars>
      </dgm:prSet>
      <dgm:spPr/>
    </dgm:pt>
    <dgm:pt modelId="{2C1F0254-AD07-4A5B-8490-48B0DC82121A}" type="pres">
      <dgm:prSet presAssocID="{093FEF59-6DF0-4DCA-908D-9F0605785176}" presName="sibTrans" presStyleCnt="0"/>
      <dgm:spPr/>
    </dgm:pt>
    <dgm:pt modelId="{2142CD64-069F-4A35-BA84-16A122A06F2D}" type="pres">
      <dgm:prSet presAssocID="{4BDC7D29-AACF-446D-9046-CB417CD002BF}" presName="composite" presStyleCnt="0">
        <dgm:presLayoutVars>
          <dgm:chMax val="1"/>
          <dgm:chPref val="1"/>
        </dgm:presLayoutVars>
      </dgm:prSet>
      <dgm:spPr/>
    </dgm:pt>
    <dgm:pt modelId="{B0658C3A-92C8-4444-91E0-DFE77AD82E20}" type="pres">
      <dgm:prSet presAssocID="{4BDC7D29-AACF-446D-9046-CB417CD002BF}" presName="Accent" presStyleLbl="trAlignAcc1" presStyleIdx="1" presStyleCnt="3">
        <dgm:presLayoutVars>
          <dgm:chMax val="0"/>
          <dgm:chPref val="0"/>
        </dgm:presLayoutVars>
      </dgm:prSet>
      <dgm:spPr/>
    </dgm:pt>
    <dgm:pt modelId="{AB5918AA-5E1F-4CA7-8CB2-C42EC9363352}" type="pres">
      <dgm:prSet presAssocID="{4BDC7D29-AACF-446D-9046-CB417CD002BF}" presName="Image" presStyleLbl="alignImgPlace1" presStyleIdx="1" presStyleCnt="3" custLinFactNeighborX="-696" custLinFactNeighborY="282">
        <dgm:presLayoutVars>
          <dgm:chMax val="0"/>
          <dgm:chPref val="0"/>
        </dgm:presLayoutVars>
      </dgm:prSet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36195AAB-FF1B-49BD-8587-19006A83AFAC}" type="pres">
      <dgm:prSet presAssocID="{4BDC7D29-AACF-446D-9046-CB417CD002BF}" presName="ChildComposite" presStyleCnt="0"/>
      <dgm:spPr/>
    </dgm:pt>
    <dgm:pt modelId="{965BEF2F-8C5E-4A2E-A267-5AAABAB9F23C}" type="pres">
      <dgm:prSet presAssocID="{4BDC7D29-AACF-446D-9046-CB417CD002BF}" presName="Child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01116C48-85A4-463A-9D81-C517FDC516DD}" type="pres">
      <dgm:prSet presAssocID="{4BDC7D29-AACF-446D-9046-CB417CD002BF}" presName="Parent" presStyleLbl="revTx" presStyleIdx="1" presStyleCnt="3">
        <dgm:presLayoutVars>
          <dgm:chMax val="1"/>
          <dgm:chPref val="0"/>
          <dgm:bulletEnabled val="1"/>
        </dgm:presLayoutVars>
      </dgm:prSet>
      <dgm:spPr/>
    </dgm:pt>
    <dgm:pt modelId="{4D1922FA-8FEF-46E0-8D1D-DE967B5A6BC3}" type="pres">
      <dgm:prSet presAssocID="{ED27DE95-01C0-494D-A47D-164B1ABFCE6F}" presName="sibTrans" presStyleCnt="0"/>
      <dgm:spPr/>
    </dgm:pt>
    <dgm:pt modelId="{FCD1E4EF-8A94-4AB6-B178-6961C57DE5E9}" type="pres">
      <dgm:prSet presAssocID="{9095C40B-8EC1-492D-87C0-8B7263DD2677}" presName="composite" presStyleCnt="0">
        <dgm:presLayoutVars>
          <dgm:chMax val="1"/>
          <dgm:chPref val="1"/>
        </dgm:presLayoutVars>
      </dgm:prSet>
      <dgm:spPr/>
    </dgm:pt>
    <dgm:pt modelId="{0A5DE108-7E88-49C6-9480-B5EA625CCD07}" type="pres">
      <dgm:prSet presAssocID="{9095C40B-8EC1-492D-87C0-8B7263DD2677}" presName="Accent" presStyleLbl="trAlignAcc1" presStyleIdx="2" presStyleCnt="3">
        <dgm:presLayoutVars>
          <dgm:chMax val="0"/>
          <dgm:chPref val="0"/>
        </dgm:presLayoutVars>
      </dgm:prSet>
      <dgm:spPr/>
    </dgm:pt>
    <dgm:pt modelId="{476A7D90-4EB0-48DF-9AAE-1B80AB6249FA}" type="pres">
      <dgm:prSet presAssocID="{9095C40B-8EC1-492D-87C0-8B7263DD2677}" presName="Image" presStyleLbl="alignImgPlace1" presStyleIdx="2" presStyleCnt="3">
        <dgm:presLayoutVars>
          <dgm:chMax val="0"/>
          <dgm:chPref val="0"/>
        </dgm:presLayoutVars>
      </dgm:prSet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</dgm:pt>
    <dgm:pt modelId="{370FF2D0-5A0E-4452-B8BC-09AD1D919219}" type="pres">
      <dgm:prSet presAssocID="{9095C40B-8EC1-492D-87C0-8B7263DD2677}" presName="ChildComposite" presStyleCnt="0"/>
      <dgm:spPr/>
    </dgm:pt>
    <dgm:pt modelId="{104724A3-457F-4340-9008-014770E048E6}" type="pres">
      <dgm:prSet presAssocID="{9095C40B-8EC1-492D-87C0-8B7263DD2677}" presName="Child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ACCF9169-BAA3-4050-A906-62B79BCE86DC}" type="pres">
      <dgm:prSet presAssocID="{9095C40B-8EC1-492D-87C0-8B7263DD2677}" presName="Parent" presStyleLbl="revTx" presStyleIdx="2" presStyleCnt="3">
        <dgm:presLayoutVars>
          <dgm:chMax val="1"/>
          <dgm:chPref val="0"/>
          <dgm:bulletEnabled val="1"/>
        </dgm:presLayoutVars>
      </dgm:prSet>
      <dgm:spPr/>
    </dgm:pt>
  </dgm:ptLst>
  <dgm:cxnLst>
    <dgm:cxn modelId="{5861770D-5744-4401-A788-E58D3A0F4BFD}" type="presOf" srcId="{585194AD-E3DE-4CF7-B310-5F4341E1E095}" destId="{965BEF2F-8C5E-4A2E-A267-5AAABAB9F23C}" srcOrd="0" destOrd="0" presId="urn:microsoft.com/office/officeart/2008/layout/CaptionedPictures"/>
    <dgm:cxn modelId="{0880BC3D-9A99-46AE-96AB-BAF224944821}" type="presOf" srcId="{6035E530-F22D-45B5-805C-3958FE4337DF}" destId="{A8315ED7-0ACA-460F-A5D9-2E55302F28B0}" srcOrd="0" destOrd="0" presId="urn:microsoft.com/office/officeart/2008/layout/CaptionedPictures"/>
    <dgm:cxn modelId="{6898725D-F24F-4D42-9310-E7DB56B34E3F}" type="presOf" srcId="{B3C563EB-939F-42AD-A4BD-C7CFD29078D1}" destId="{9E315177-FB0D-4AF5-BD02-1C2ED00FEF8A}" srcOrd="0" destOrd="0" presId="urn:microsoft.com/office/officeart/2008/layout/CaptionedPictures"/>
    <dgm:cxn modelId="{D8EEF045-B945-4A43-BBF7-C2B07559E26F}" srcId="{6035E530-F22D-45B5-805C-3958FE4337DF}" destId="{4BDC7D29-AACF-446D-9046-CB417CD002BF}" srcOrd="1" destOrd="0" parTransId="{18C1D93B-2DB7-42E8-B834-49BC85DE5FDA}" sibTransId="{ED27DE95-01C0-494D-A47D-164B1ABFCE6F}"/>
    <dgm:cxn modelId="{8D93A551-9226-4A78-8F73-D9A0D13683B9}" type="presOf" srcId="{57B7147E-51D0-4016-B896-E447421FDFD1}" destId="{ED287025-EAB5-4F59-B9FE-4CC7BD00E793}" srcOrd="0" destOrd="0" presId="urn:microsoft.com/office/officeart/2008/layout/CaptionedPictures"/>
    <dgm:cxn modelId="{D8D6C078-78FA-49AB-8038-5E79B34D8444}" srcId="{6035E530-F22D-45B5-805C-3958FE4337DF}" destId="{9095C40B-8EC1-492D-87C0-8B7263DD2677}" srcOrd="2" destOrd="0" parTransId="{29D6F10B-C830-43E6-8285-E3557099D031}" sibTransId="{89D44218-CC5F-4AE1-8C94-1F833A4F50BE}"/>
    <dgm:cxn modelId="{FF87F0A6-9E50-4B96-9402-61BD71C5B156}" type="presOf" srcId="{9095C40B-8EC1-492D-87C0-8B7263DD2677}" destId="{ACCF9169-BAA3-4050-A906-62B79BCE86DC}" srcOrd="0" destOrd="0" presId="urn:microsoft.com/office/officeart/2008/layout/CaptionedPictures"/>
    <dgm:cxn modelId="{9C17CED9-33D1-4D48-A682-566F0592E8D8}" srcId="{9095C40B-8EC1-492D-87C0-8B7263DD2677}" destId="{D26F3F15-FB86-423F-9BB0-D9FAF52843F9}" srcOrd="0" destOrd="0" parTransId="{26CBCBF2-F375-46C3-BE8A-82FAC6AA6125}" sibTransId="{B727DF39-D805-474A-AD57-0B737F515E18}"/>
    <dgm:cxn modelId="{EC9645E2-249B-4216-B66A-EC87DEECA7C5}" srcId="{57B7147E-51D0-4016-B896-E447421FDFD1}" destId="{B3C563EB-939F-42AD-A4BD-C7CFD29078D1}" srcOrd="0" destOrd="0" parTransId="{10CF7230-1D6F-4014-B488-F818FF56A071}" sibTransId="{95E25AE7-AEA2-4270-B4D2-C7A77A97B1A6}"/>
    <dgm:cxn modelId="{E8C4C9E5-6D03-4FFF-9C3D-744E3AC44556}" srcId="{4BDC7D29-AACF-446D-9046-CB417CD002BF}" destId="{585194AD-E3DE-4CF7-B310-5F4341E1E095}" srcOrd="0" destOrd="0" parTransId="{51501264-0B8D-4049-8754-4477C63BD533}" sibTransId="{A5AB03CB-2539-47D0-8200-3EB864F4FCB9}"/>
    <dgm:cxn modelId="{F7D3ECED-AC16-488C-AEE9-53729B2DD356}" type="presOf" srcId="{4BDC7D29-AACF-446D-9046-CB417CD002BF}" destId="{01116C48-85A4-463A-9D81-C517FDC516DD}" srcOrd="0" destOrd="0" presId="urn:microsoft.com/office/officeart/2008/layout/CaptionedPictures"/>
    <dgm:cxn modelId="{A5A9DFF5-093A-4740-A759-69ABC33917E5}" type="presOf" srcId="{D26F3F15-FB86-423F-9BB0-D9FAF52843F9}" destId="{104724A3-457F-4340-9008-014770E048E6}" srcOrd="0" destOrd="0" presId="urn:microsoft.com/office/officeart/2008/layout/CaptionedPictures"/>
    <dgm:cxn modelId="{3A01D2F6-3AD8-4171-9B1D-0ACCB545D340}" srcId="{6035E530-F22D-45B5-805C-3958FE4337DF}" destId="{57B7147E-51D0-4016-B896-E447421FDFD1}" srcOrd="0" destOrd="0" parTransId="{6C1C0E7A-58A3-4C1D-B0DB-9D9A5C4C150E}" sibTransId="{093FEF59-6DF0-4DCA-908D-9F0605785176}"/>
    <dgm:cxn modelId="{186010F6-764F-44C3-B5F4-F963A1FF1097}" type="presParOf" srcId="{A8315ED7-0ACA-460F-A5D9-2E55302F28B0}" destId="{E178825B-A5D3-4619-ADDA-58CD17B8E343}" srcOrd="0" destOrd="0" presId="urn:microsoft.com/office/officeart/2008/layout/CaptionedPictures"/>
    <dgm:cxn modelId="{D2C86D68-A069-4CEA-915C-0B021AEFB8FE}" type="presParOf" srcId="{E178825B-A5D3-4619-ADDA-58CD17B8E343}" destId="{43EE87EE-A783-4865-80CA-021A774017DF}" srcOrd="0" destOrd="0" presId="urn:microsoft.com/office/officeart/2008/layout/CaptionedPictures"/>
    <dgm:cxn modelId="{117B56EC-6D3F-4611-A915-06B22DC9B986}" type="presParOf" srcId="{E178825B-A5D3-4619-ADDA-58CD17B8E343}" destId="{C12376E9-B7ED-463B-9FC0-D4EE34EBF2A5}" srcOrd="1" destOrd="0" presId="urn:microsoft.com/office/officeart/2008/layout/CaptionedPictures"/>
    <dgm:cxn modelId="{B25B2989-0B33-492D-BF1A-7D2484213A1B}" type="presParOf" srcId="{E178825B-A5D3-4619-ADDA-58CD17B8E343}" destId="{C3D524B3-91AB-4CF3-9B5E-6CD7237B501B}" srcOrd="2" destOrd="0" presId="urn:microsoft.com/office/officeart/2008/layout/CaptionedPictures"/>
    <dgm:cxn modelId="{3AC27977-F03A-47D1-98EF-B18729009360}" type="presParOf" srcId="{C3D524B3-91AB-4CF3-9B5E-6CD7237B501B}" destId="{9E315177-FB0D-4AF5-BD02-1C2ED00FEF8A}" srcOrd="0" destOrd="0" presId="urn:microsoft.com/office/officeart/2008/layout/CaptionedPictures"/>
    <dgm:cxn modelId="{52A79A55-3967-4509-8CB9-42D082DB97FF}" type="presParOf" srcId="{C3D524B3-91AB-4CF3-9B5E-6CD7237B501B}" destId="{ED287025-EAB5-4F59-B9FE-4CC7BD00E793}" srcOrd="1" destOrd="0" presId="urn:microsoft.com/office/officeart/2008/layout/CaptionedPictures"/>
    <dgm:cxn modelId="{3C899FD7-2AAD-44A3-B902-46F44232AE2F}" type="presParOf" srcId="{A8315ED7-0ACA-460F-A5D9-2E55302F28B0}" destId="{2C1F0254-AD07-4A5B-8490-48B0DC82121A}" srcOrd="1" destOrd="0" presId="urn:microsoft.com/office/officeart/2008/layout/CaptionedPictures"/>
    <dgm:cxn modelId="{8CCF86A3-33F2-46B9-A3FA-439C20D1C0CA}" type="presParOf" srcId="{A8315ED7-0ACA-460F-A5D9-2E55302F28B0}" destId="{2142CD64-069F-4A35-BA84-16A122A06F2D}" srcOrd="2" destOrd="0" presId="urn:microsoft.com/office/officeart/2008/layout/CaptionedPictures"/>
    <dgm:cxn modelId="{CA3874E7-6CA6-420E-B120-0FEAA25F339B}" type="presParOf" srcId="{2142CD64-069F-4A35-BA84-16A122A06F2D}" destId="{B0658C3A-92C8-4444-91E0-DFE77AD82E20}" srcOrd="0" destOrd="0" presId="urn:microsoft.com/office/officeart/2008/layout/CaptionedPictures"/>
    <dgm:cxn modelId="{52333BB3-1AEF-42E2-93B8-DE36ABE9B138}" type="presParOf" srcId="{2142CD64-069F-4A35-BA84-16A122A06F2D}" destId="{AB5918AA-5E1F-4CA7-8CB2-C42EC9363352}" srcOrd="1" destOrd="0" presId="urn:microsoft.com/office/officeart/2008/layout/CaptionedPictures"/>
    <dgm:cxn modelId="{9B7AE187-CED3-4C7A-AD9A-3117D114094F}" type="presParOf" srcId="{2142CD64-069F-4A35-BA84-16A122A06F2D}" destId="{36195AAB-FF1B-49BD-8587-19006A83AFAC}" srcOrd="2" destOrd="0" presId="urn:microsoft.com/office/officeart/2008/layout/CaptionedPictures"/>
    <dgm:cxn modelId="{A9CC0D7E-A1DF-48C7-B866-C81DF4E451FC}" type="presParOf" srcId="{36195AAB-FF1B-49BD-8587-19006A83AFAC}" destId="{965BEF2F-8C5E-4A2E-A267-5AAABAB9F23C}" srcOrd="0" destOrd="0" presId="urn:microsoft.com/office/officeart/2008/layout/CaptionedPictures"/>
    <dgm:cxn modelId="{F9B16AFE-5ED6-4272-8699-56064C58D98A}" type="presParOf" srcId="{36195AAB-FF1B-49BD-8587-19006A83AFAC}" destId="{01116C48-85A4-463A-9D81-C517FDC516DD}" srcOrd="1" destOrd="0" presId="urn:microsoft.com/office/officeart/2008/layout/CaptionedPictures"/>
    <dgm:cxn modelId="{7833F6F5-9F4B-461F-9AD2-F360238BFA41}" type="presParOf" srcId="{A8315ED7-0ACA-460F-A5D9-2E55302F28B0}" destId="{4D1922FA-8FEF-46E0-8D1D-DE967B5A6BC3}" srcOrd="3" destOrd="0" presId="urn:microsoft.com/office/officeart/2008/layout/CaptionedPictures"/>
    <dgm:cxn modelId="{49013907-92D3-47BC-9FF0-B040C29CD8AC}" type="presParOf" srcId="{A8315ED7-0ACA-460F-A5D9-2E55302F28B0}" destId="{FCD1E4EF-8A94-4AB6-B178-6961C57DE5E9}" srcOrd="4" destOrd="0" presId="urn:microsoft.com/office/officeart/2008/layout/CaptionedPictures"/>
    <dgm:cxn modelId="{1EB059CD-3B6B-408C-A861-B2AA6C65F38A}" type="presParOf" srcId="{FCD1E4EF-8A94-4AB6-B178-6961C57DE5E9}" destId="{0A5DE108-7E88-49C6-9480-B5EA625CCD07}" srcOrd="0" destOrd="0" presId="urn:microsoft.com/office/officeart/2008/layout/CaptionedPictures"/>
    <dgm:cxn modelId="{820B857C-2AA7-482E-9852-973578B10FE4}" type="presParOf" srcId="{FCD1E4EF-8A94-4AB6-B178-6961C57DE5E9}" destId="{476A7D90-4EB0-48DF-9AAE-1B80AB6249FA}" srcOrd="1" destOrd="0" presId="urn:microsoft.com/office/officeart/2008/layout/CaptionedPictures"/>
    <dgm:cxn modelId="{0958217F-46D1-4ED7-A977-3B8A29673EE6}" type="presParOf" srcId="{FCD1E4EF-8A94-4AB6-B178-6961C57DE5E9}" destId="{370FF2D0-5A0E-4452-B8BC-09AD1D919219}" srcOrd="2" destOrd="0" presId="urn:microsoft.com/office/officeart/2008/layout/CaptionedPictures"/>
    <dgm:cxn modelId="{0C76E0C4-2096-489E-99C8-0D0CD0A39ED0}" type="presParOf" srcId="{370FF2D0-5A0E-4452-B8BC-09AD1D919219}" destId="{104724A3-457F-4340-9008-014770E048E6}" srcOrd="0" destOrd="0" presId="urn:microsoft.com/office/officeart/2008/layout/CaptionedPictures"/>
    <dgm:cxn modelId="{FD7A4E23-4A6A-4340-8BAD-9EAEADBB0A88}" type="presParOf" srcId="{370FF2D0-5A0E-4452-B8BC-09AD1D919219}" destId="{ACCF9169-BAA3-4050-A906-62B79BCE86DC}" srcOrd="1" destOrd="0" presId="urn:microsoft.com/office/officeart/2008/layout/CaptionedPicture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9235B78-03EA-4A00-B6DB-71E83579D6E3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4E1DD9B-3ABE-4780-8D6D-96636DDE8EAC}">
      <dgm:prSet phldrT="[Text]" custT="1"/>
      <dgm:spPr/>
      <dgm:t>
        <a:bodyPr/>
        <a:lstStyle/>
        <a:p>
          <a:pPr>
            <a:buNone/>
          </a:pPr>
          <a:r>
            <a:rPr lang="en-US" sz="2000" b="1">
              <a:solidFill>
                <a:srgbClr val="FFC000"/>
              </a:solidFill>
            </a:rPr>
            <a:t>$342 million </a:t>
          </a:r>
          <a:r>
            <a:rPr lang="en-US" sz="1600" b="0"/>
            <a:t>in Massachusetts Awards for </a:t>
          </a:r>
          <a:r>
            <a:rPr lang="en-US" sz="1600" b="1"/>
            <a:t>Reconnecting Communities </a:t>
          </a:r>
          <a:r>
            <a:rPr lang="en-US" sz="1600" b="0"/>
            <a:t>including </a:t>
          </a:r>
          <a:r>
            <a:rPr lang="en-US" sz="1600" b="1"/>
            <a:t>$335M for the Allston Multimodal Project</a:t>
          </a:r>
        </a:p>
      </dgm:t>
    </dgm:pt>
    <dgm:pt modelId="{25BE185E-320B-4BA3-A3C1-605384C64B7D}" type="parTrans" cxnId="{34678C5A-AF7E-456D-8810-B8AF4C7E4385}">
      <dgm:prSet/>
      <dgm:spPr/>
      <dgm:t>
        <a:bodyPr/>
        <a:lstStyle/>
        <a:p>
          <a:endParaRPr lang="en-US" sz="1400" b="0"/>
        </a:p>
      </dgm:t>
    </dgm:pt>
    <dgm:pt modelId="{3A2C1AD7-FFF3-4A72-B266-845603D09E24}" type="sibTrans" cxnId="{34678C5A-AF7E-456D-8810-B8AF4C7E4385}">
      <dgm:prSet/>
      <dgm:spPr/>
      <dgm:t>
        <a:bodyPr/>
        <a:lstStyle/>
        <a:p>
          <a:endParaRPr lang="en-US" sz="1400" b="0"/>
        </a:p>
      </dgm:t>
    </dgm:pt>
    <dgm:pt modelId="{4ACDBD37-889B-48E3-8212-95ABA1DFE264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>
            <a:buClr>
              <a:srgbClr val="1CADE4"/>
            </a:buClr>
            <a:buSzTx/>
            <a:buFont typeface="Wingdings 3" pitchFamily="18" charset="2"/>
            <a:buNone/>
          </a:pPr>
          <a:r>
            <a:rPr kumimoji="0" lang="en-US" sz="2000" b="1" i="0" u="none" strike="noStrike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+mn-cs"/>
            </a:rPr>
            <a:t>$156 </a:t>
          </a:r>
          <a:r>
            <a:rPr lang="en-US" sz="2000" b="1">
              <a:solidFill>
                <a:srgbClr val="FFC000"/>
              </a:solidFill>
            </a:rPr>
            <a:t>million</a:t>
          </a:r>
          <a:r>
            <a:rPr kumimoji="0" lang="en-US" sz="2000" b="1" i="0" u="none" strike="noStrike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+mn-cs"/>
            </a:rPr>
            <a:t> </a:t>
          </a:r>
          <a:r>
            <a:rPr kumimoji="0" lang="en-US" sz="1600" b="1" i="0" u="none" strike="noStrike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+mn-cs"/>
            </a:rPr>
            <a:t>award through Solar for All Program </a:t>
          </a:r>
          <a:r>
            <a:rPr kumimoji="0" lang="en-US" sz="1600" b="0" i="0" u="none" strike="noStrike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+mn-cs"/>
            </a:rPr>
            <a:t>for clean energy investments </a:t>
          </a:r>
          <a:r>
            <a:rPr kumimoji="0" lang="en-US" sz="1600" b="0" i="0" u="none" strike="noStrike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to up to 31,000 low-income and affordable homes </a:t>
          </a:r>
          <a:r>
            <a:rPr kumimoji="0" lang="en-US" sz="1600" b="0" i="0" u="none" strike="noStrike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+mn-cs"/>
            </a:rPr>
            <a:t> </a:t>
          </a:r>
          <a:endParaRPr lang="en-US" sz="1600" b="0"/>
        </a:p>
      </dgm:t>
    </dgm:pt>
    <dgm:pt modelId="{F7A4BAB2-4ED6-42F7-8A6E-886E391986DC}" type="parTrans" cxnId="{6AE0DC9C-2AA1-4105-9DD2-B96127CC2841}">
      <dgm:prSet/>
      <dgm:spPr/>
      <dgm:t>
        <a:bodyPr/>
        <a:lstStyle/>
        <a:p>
          <a:endParaRPr lang="en-US" sz="1400" b="0"/>
        </a:p>
      </dgm:t>
    </dgm:pt>
    <dgm:pt modelId="{0500C89C-0141-4401-90C1-7EDE62711609}" type="sibTrans" cxnId="{6AE0DC9C-2AA1-4105-9DD2-B96127CC2841}">
      <dgm:prSet/>
      <dgm:spPr/>
      <dgm:t>
        <a:bodyPr/>
        <a:lstStyle/>
        <a:p>
          <a:endParaRPr lang="en-US" sz="1400" b="0"/>
        </a:p>
      </dgm:t>
    </dgm:pt>
    <dgm:pt modelId="{74554D77-45D9-42FC-83F7-47D0EC85B1EA}">
      <dgm:prSet phldrT="[Text]" custT="1"/>
      <dgm:spPr/>
      <dgm:t>
        <a:bodyPr/>
        <a:lstStyle/>
        <a:p>
          <a:pPr>
            <a:buClr>
              <a:srgbClr val="1CADE4"/>
            </a:buClr>
            <a:buSzTx/>
            <a:buFont typeface="Wingdings 3" pitchFamily="18" charset="2"/>
            <a:buNone/>
          </a:pPr>
          <a:r>
            <a:rPr kumimoji="0" lang="en-US" sz="2000" b="1" i="0" u="none" strike="noStrike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$993 </a:t>
          </a:r>
          <a:r>
            <a:rPr lang="en-US" sz="2000" b="1">
              <a:solidFill>
                <a:srgbClr val="FFC000"/>
              </a:solidFill>
            </a:rPr>
            <a:t>million</a:t>
          </a:r>
          <a:r>
            <a:rPr kumimoji="0" lang="en-US" sz="2000" b="1" i="0" u="none" strike="noStrike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 </a:t>
          </a:r>
          <a:r>
            <a:rPr kumimoji="0" lang="en-US" sz="1600" b="1" i="0" u="none" strike="noStrike" cap="none" spc="0" normalizeH="0" baseline="0" noProof="0">
              <a:ln/>
              <a:effectLst/>
              <a:uLnTx/>
              <a:uFillTx/>
              <a:latin typeface="Tw Cen MT" panose="020B0602020104020603"/>
              <a:ea typeface="+mn-ea"/>
              <a:cs typeface="+mn-cs"/>
            </a:rPr>
            <a:t>award for the Cape Cod Bridges </a:t>
          </a:r>
          <a:r>
            <a:rPr kumimoji="0" lang="en-US" sz="1600" b="0" i="0" u="none" strike="noStrike" cap="none" spc="0" normalizeH="0" baseline="0" noProof="0">
              <a:ln/>
              <a:effectLst/>
              <a:uLnTx/>
              <a:uFillTx/>
              <a:latin typeface="Tw Cen MT" panose="020B0602020104020603"/>
              <a:ea typeface="+mn-ea"/>
              <a:cs typeface="+mn-cs"/>
            </a:rPr>
            <a:t>from the Bridge Investment Program</a:t>
          </a:r>
          <a:endParaRPr lang="en-US" sz="1600" b="0"/>
        </a:p>
      </dgm:t>
    </dgm:pt>
    <dgm:pt modelId="{7627D361-3E5E-455F-AA80-EA48D2FBBE6B}" type="parTrans" cxnId="{F54FFFEB-68CC-48A0-8391-BBB580A31956}">
      <dgm:prSet/>
      <dgm:spPr/>
      <dgm:t>
        <a:bodyPr/>
        <a:lstStyle/>
        <a:p>
          <a:endParaRPr lang="en-US" sz="1400" b="0"/>
        </a:p>
      </dgm:t>
    </dgm:pt>
    <dgm:pt modelId="{B38E7143-EDE1-42B2-9DC4-5F023DE5C54E}" type="sibTrans" cxnId="{F54FFFEB-68CC-48A0-8391-BBB580A31956}">
      <dgm:prSet/>
      <dgm:spPr/>
      <dgm:t>
        <a:bodyPr/>
        <a:lstStyle/>
        <a:p>
          <a:endParaRPr lang="en-US" sz="1400" b="0"/>
        </a:p>
      </dgm:t>
    </dgm:pt>
    <dgm:pt modelId="{6D6321F7-EA36-4C7D-81D6-68625777429E}">
      <dgm:prSet phldrT="[Text]" custT="1"/>
      <dgm:spPr/>
      <dgm:t>
        <a:bodyPr/>
        <a:lstStyle/>
        <a:p>
          <a:pPr>
            <a:buClr>
              <a:prstClr val="black"/>
            </a:buClr>
            <a:buSzTx/>
            <a:buFontTx/>
            <a:buNone/>
          </a:pPr>
          <a:r>
            <a:rPr kumimoji="0" lang="en-US" sz="2000" b="1" i="0" u="none" strike="noStrike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$105 </a:t>
          </a:r>
          <a:r>
            <a:rPr lang="en-US" sz="2000" b="1">
              <a:solidFill>
                <a:srgbClr val="FFC000"/>
              </a:solidFill>
            </a:rPr>
            <a:t>million </a:t>
          </a:r>
          <a:r>
            <a:rPr lang="en-US" sz="1600" b="1"/>
            <a:t>to</a:t>
          </a:r>
          <a:r>
            <a:rPr kumimoji="0" lang="en-US" sz="1600" b="0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 Massachusetts entities from the </a:t>
          </a:r>
          <a:r>
            <a:rPr kumimoji="0" lang="en-US" sz="1600" b="1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Environmental Protection Agency’s Clean School Bus Program </a:t>
          </a:r>
          <a:r>
            <a:rPr kumimoji="0" lang="en-US" sz="1600" b="0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for low and zero emission school buses</a:t>
          </a:r>
          <a:endParaRPr lang="en-US" sz="1600" b="0">
            <a:solidFill>
              <a:schemeClr val="bg1"/>
            </a:solidFill>
          </a:endParaRPr>
        </a:p>
      </dgm:t>
    </dgm:pt>
    <dgm:pt modelId="{E3C86663-A101-42A9-81A0-1DA47698D40E}" type="parTrans" cxnId="{EBB1E2EC-E5C4-461A-A504-6100E86E69EF}">
      <dgm:prSet/>
      <dgm:spPr/>
      <dgm:t>
        <a:bodyPr/>
        <a:lstStyle/>
        <a:p>
          <a:endParaRPr lang="en-US" sz="1400" b="0"/>
        </a:p>
      </dgm:t>
    </dgm:pt>
    <dgm:pt modelId="{1A9FA8B4-09F0-4800-A79C-9527CBFCBB0D}" type="sibTrans" cxnId="{EBB1E2EC-E5C4-461A-A504-6100E86E69EF}">
      <dgm:prSet/>
      <dgm:spPr/>
      <dgm:t>
        <a:bodyPr/>
        <a:lstStyle/>
        <a:p>
          <a:endParaRPr lang="en-US" sz="1400" b="0"/>
        </a:p>
      </dgm:t>
    </dgm:pt>
    <dgm:pt modelId="{C51ED50D-2EF9-4A75-B786-8E1006281EF1}">
      <dgm:prSet phldrT="[Text]" custT="1"/>
      <dgm:spPr/>
      <dgm:t>
        <a:bodyPr/>
        <a:lstStyle/>
        <a:p>
          <a:pPr>
            <a:buClrTx/>
            <a:buSzTx/>
            <a:buFontTx/>
            <a:buNone/>
          </a:pPr>
          <a:r>
            <a:rPr kumimoji="0" lang="en-US" sz="2000" b="1" i="0" u="none" strike="noStrike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$147 </a:t>
          </a:r>
          <a:r>
            <a:rPr lang="en-US" sz="2000" b="1">
              <a:solidFill>
                <a:srgbClr val="FFC000"/>
              </a:solidFill>
            </a:rPr>
            <a:t>million</a:t>
          </a:r>
          <a:r>
            <a:rPr kumimoji="0" lang="en-US" sz="2000" b="1" i="0" u="none" strike="noStrike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 </a:t>
          </a:r>
          <a:r>
            <a:rPr kumimoji="0" lang="en-US" sz="1600" b="0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from the </a:t>
          </a:r>
          <a:r>
            <a:rPr kumimoji="0" lang="en-US" sz="1600" b="1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National Telecommunications and Information Agency’s Broadband, Equity, Access, and Deployment program</a:t>
          </a:r>
          <a:r>
            <a:rPr kumimoji="0" lang="en-US" sz="1600" b="0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 to expand high speed internet access</a:t>
          </a:r>
          <a:endParaRPr lang="en-US" sz="1600" b="0">
            <a:solidFill>
              <a:schemeClr val="bg1"/>
            </a:solidFill>
          </a:endParaRPr>
        </a:p>
      </dgm:t>
    </dgm:pt>
    <dgm:pt modelId="{E930D31D-1383-42DF-BD92-735DBBE43FE5}" type="parTrans" cxnId="{7C8EEED3-2B31-4B9E-A11E-2A8FD9BF48A8}">
      <dgm:prSet/>
      <dgm:spPr/>
      <dgm:t>
        <a:bodyPr/>
        <a:lstStyle/>
        <a:p>
          <a:endParaRPr lang="en-US" sz="1400" b="0"/>
        </a:p>
      </dgm:t>
    </dgm:pt>
    <dgm:pt modelId="{1C45A108-8887-4534-9794-38684D6934AA}" type="sibTrans" cxnId="{7C8EEED3-2B31-4B9E-A11E-2A8FD9BF48A8}">
      <dgm:prSet/>
      <dgm:spPr/>
      <dgm:t>
        <a:bodyPr/>
        <a:lstStyle/>
        <a:p>
          <a:endParaRPr lang="en-US" sz="1400" b="0"/>
        </a:p>
      </dgm:t>
    </dgm:pt>
    <dgm:pt modelId="{B9F0F892-8083-419A-820F-F1F22708872B}">
      <dgm:prSet phldrT="[Text]" custT="1"/>
      <dgm:spPr/>
      <dgm:t>
        <a:bodyPr/>
        <a:lstStyle/>
        <a:p>
          <a:pPr>
            <a:buClr>
              <a:srgbClr val="1CADE4"/>
            </a:buClr>
            <a:buSzTx/>
            <a:buFont typeface="Wingdings 3" pitchFamily="18" charset="2"/>
            <a:buNone/>
          </a:pPr>
          <a:r>
            <a:rPr kumimoji="0" lang="en-US" sz="2000" b="1" i="0" u="none" strike="noStrike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$472 Million </a:t>
          </a:r>
          <a:r>
            <a:rPr kumimoji="0" lang="en-US" sz="1600" b="1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for North Station Draw Bridge </a:t>
          </a:r>
          <a:r>
            <a:rPr kumimoji="0" lang="en-US" sz="1600" b="0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as part of the </a:t>
          </a:r>
          <a:r>
            <a:rPr kumimoji="0" lang="en-US" sz="1600" b="1" i="0" u="none" strike="noStrike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Multimodal Project Discretionary Grant Program </a:t>
          </a:r>
          <a:endParaRPr lang="en-US" sz="1600" b="0">
            <a:solidFill>
              <a:schemeClr val="bg1"/>
            </a:solidFill>
          </a:endParaRPr>
        </a:p>
      </dgm:t>
    </dgm:pt>
    <dgm:pt modelId="{502C35B4-BC22-47C5-9686-1346E4392156}" type="parTrans" cxnId="{A7AFFF30-4CB8-40F7-9C81-64078813DF00}">
      <dgm:prSet/>
      <dgm:spPr/>
      <dgm:t>
        <a:bodyPr/>
        <a:lstStyle/>
        <a:p>
          <a:endParaRPr lang="en-US" sz="1400" b="0"/>
        </a:p>
      </dgm:t>
    </dgm:pt>
    <dgm:pt modelId="{767231C3-9E94-4145-9FE0-BAFD65C1E4AB}" type="sibTrans" cxnId="{A7AFFF30-4CB8-40F7-9C81-64078813DF00}">
      <dgm:prSet/>
      <dgm:spPr/>
      <dgm:t>
        <a:bodyPr/>
        <a:lstStyle/>
        <a:p>
          <a:endParaRPr lang="en-US" sz="1400" b="0"/>
        </a:p>
      </dgm:t>
    </dgm:pt>
    <dgm:pt modelId="{EE501ECC-E270-4620-B2E9-0379980F72E3}" type="pres">
      <dgm:prSet presAssocID="{A9235B78-03EA-4A00-B6DB-71E83579D6E3}" presName="diagram" presStyleCnt="0">
        <dgm:presLayoutVars>
          <dgm:dir/>
          <dgm:resizeHandles val="exact"/>
        </dgm:presLayoutVars>
      </dgm:prSet>
      <dgm:spPr/>
    </dgm:pt>
    <dgm:pt modelId="{06F7073A-23D2-4F77-A936-D14C50EBDE8F}" type="pres">
      <dgm:prSet presAssocID="{94E1DD9B-3ABE-4780-8D6D-96636DDE8EAC}" presName="node" presStyleLbl="node1" presStyleIdx="0" presStyleCnt="6">
        <dgm:presLayoutVars>
          <dgm:bulletEnabled val="1"/>
        </dgm:presLayoutVars>
      </dgm:prSet>
      <dgm:spPr/>
    </dgm:pt>
    <dgm:pt modelId="{7E9BE232-0CEC-4FA3-B9F1-656510FD4AF0}" type="pres">
      <dgm:prSet presAssocID="{3A2C1AD7-FFF3-4A72-B266-845603D09E24}" presName="sibTrans" presStyleCnt="0"/>
      <dgm:spPr/>
    </dgm:pt>
    <dgm:pt modelId="{0EC5D9F7-11DB-4C29-AA78-DAC42A11228A}" type="pres">
      <dgm:prSet presAssocID="{4ACDBD37-889B-48E3-8212-95ABA1DFE264}" presName="node" presStyleLbl="node1" presStyleIdx="1" presStyleCnt="6">
        <dgm:presLayoutVars>
          <dgm:bulletEnabled val="1"/>
        </dgm:presLayoutVars>
      </dgm:prSet>
      <dgm:spPr/>
    </dgm:pt>
    <dgm:pt modelId="{1EA1BF99-548D-4072-AD37-AF9365EA012C}" type="pres">
      <dgm:prSet presAssocID="{0500C89C-0141-4401-90C1-7EDE62711609}" presName="sibTrans" presStyleCnt="0"/>
      <dgm:spPr/>
    </dgm:pt>
    <dgm:pt modelId="{E778FC93-0A0C-4F46-9B18-5F1652F97717}" type="pres">
      <dgm:prSet presAssocID="{74554D77-45D9-42FC-83F7-47D0EC85B1EA}" presName="node" presStyleLbl="node1" presStyleIdx="2" presStyleCnt="6">
        <dgm:presLayoutVars>
          <dgm:bulletEnabled val="1"/>
        </dgm:presLayoutVars>
      </dgm:prSet>
      <dgm:spPr/>
    </dgm:pt>
    <dgm:pt modelId="{ABADA63D-7A31-4FDA-83D1-F2D357B3B434}" type="pres">
      <dgm:prSet presAssocID="{B38E7143-EDE1-42B2-9DC4-5F023DE5C54E}" presName="sibTrans" presStyleCnt="0"/>
      <dgm:spPr/>
    </dgm:pt>
    <dgm:pt modelId="{F2B326B2-BBEC-4C81-B7D0-B18C9843FF1C}" type="pres">
      <dgm:prSet presAssocID="{6D6321F7-EA36-4C7D-81D6-68625777429E}" presName="node" presStyleLbl="node1" presStyleIdx="3" presStyleCnt="6">
        <dgm:presLayoutVars>
          <dgm:bulletEnabled val="1"/>
        </dgm:presLayoutVars>
      </dgm:prSet>
      <dgm:spPr/>
    </dgm:pt>
    <dgm:pt modelId="{B463650C-2450-4078-A9AF-CE3726804E28}" type="pres">
      <dgm:prSet presAssocID="{1A9FA8B4-09F0-4800-A79C-9527CBFCBB0D}" presName="sibTrans" presStyleCnt="0"/>
      <dgm:spPr/>
    </dgm:pt>
    <dgm:pt modelId="{162B735B-6E45-48AD-8D87-503CD33E057C}" type="pres">
      <dgm:prSet presAssocID="{C51ED50D-2EF9-4A75-B786-8E1006281EF1}" presName="node" presStyleLbl="node1" presStyleIdx="4" presStyleCnt="6">
        <dgm:presLayoutVars>
          <dgm:bulletEnabled val="1"/>
        </dgm:presLayoutVars>
      </dgm:prSet>
      <dgm:spPr/>
    </dgm:pt>
    <dgm:pt modelId="{4557DBE1-CF49-4C36-9B63-5A0AAA8B436B}" type="pres">
      <dgm:prSet presAssocID="{1C45A108-8887-4534-9794-38684D6934AA}" presName="sibTrans" presStyleCnt="0"/>
      <dgm:spPr/>
    </dgm:pt>
    <dgm:pt modelId="{1AA48CC6-B6E3-4B9B-A672-204EDD3DA78B}" type="pres">
      <dgm:prSet presAssocID="{B9F0F892-8083-419A-820F-F1F22708872B}" presName="node" presStyleLbl="node1" presStyleIdx="5" presStyleCnt="6">
        <dgm:presLayoutVars>
          <dgm:bulletEnabled val="1"/>
        </dgm:presLayoutVars>
      </dgm:prSet>
      <dgm:spPr/>
    </dgm:pt>
  </dgm:ptLst>
  <dgm:cxnLst>
    <dgm:cxn modelId="{9AD44515-4DBC-4E1F-A7C3-3996DAC9B9FD}" type="presOf" srcId="{94E1DD9B-3ABE-4780-8D6D-96636DDE8EAC}" destId="{06F7073A-23D2-4F77-A936-D14C50EBDE8F}" srcOrd="0" destOrd="0" presId="urn:microsoft.com/office/officeart/2005/8/layout/default"/>
    <dgm:cxn modelId="{2A0F4025-74C4-413D-8090-B4E050DD3F5E}" type="presOf" srcId="{B9F0F892-8083-419A-820F-F1F22708872B}" destId="{1AA48CC6-B6E3-4B9B-A672-204EDD3DA78B}" srcOrd="0" destOrd="0" presId="urn:microsoft.com/office/officeart/2005/8/layout/default"/>
    <dgm:cxn modelId="{A7AFFF30-4CB8-40F7-9C81-64078813DF00}" srcId="{A9235B78-03EA-4A00-B6DB-71E83579D6E3}" destId="{B9F0F892-8083-419A-820F-F1F22708872B}" srcOrd="5" destOrd="0" parTransId="{502C35B4-BC22-47C5-9686-1346E4392156}" sibTransId="{767231C3-9E94-4145-9FE0-BAFD65C1E4AB}"/>
    <dgm:cxn modelId="{D8E9F73B-88A6-44AE-A815-C1C998A8EE4B}" type="presOf" srcId="{4ACDBD37-889B-48E3-8212-95ABA1DFE264}" destId="{0EC5D9F7-11DB-4C29-AA78-DAC42A11228A}" srcOrd="0" destOrd="0" presId="urn:microsoft.com/office/officeart/2005/8/layout/default"/>
    <dgm:cxn modelId="{34678C5A-AF7E-456D-8810-B8AF4C7E4385}" srcId="{A9235B78-03EA-4A00-B6DB-71E83579D6E3}" destId="{94E1DD9B-3ABE-4780-8D6D-96636DDE8EAC}" srcOrd="0" destOrd="0" parTransId="{25BE185E-320B-4BA3-A3C1-605384C64B7D}" sibTransId="{3A2C1AD7-FFF3-4A72-B266-845603D09E24}"/>
    <dgm:cxn modelId="{A480A88A-CF05-483E-AE9B-76D1B9291821}" type="presOf" srcId="{A9235B78-03EA-4A00-B6DB-71E83579D6E3}" destId="{EE501ECC-E270-4620-B2E9-0379980F72E3}" srcOrd="0" destOrd="0" presId="urn:microsoft.com/office/officeart/2005/8/layout/default"/>
    <dgm:cxn modelId="{AA780F8C-BA4E-4030-8506-C6767BE9E36F}" type="presOf" srcId="{C51ED50D-2EF9-4A75-B786-8E1006281EF1}" destId="{162B735B-6E45-48AD-8D87-503CD33E057C}" srcOrd="0" destOrd="0" presId="urn:microsoft.com/office/officeart/2005/8/layout/default"/>
    <dgm:cxn modelId="{A4654498-3A2E-4545-A5E5-1E2D4F6F2068}" type="presOf" srcId="{74554D77-45D9-42FC-83F7-47D0EC85B1EA}" destId="{E778FC93-0A0C-4F46-9B18-5F1652F97717}" srcOrd="0" destOrd="0" presId="urn:microsoft.com/office/officeart/2005/8/layout/default"/>
    <dgm:cxn modelId="{6AE0DC9C-2AA1-4105-9DD2-B96127CC2841}" srcId="{A9235B78-03EA-4A00-B6DB-71E83579D6E3}" destId="{4ACDBD37-889B-48E3-8212-95ABA1DFE264}" srcOrd="1" destOrd="0" parTransId="{F7A4BAB2-4ED6-42F7-8A6E-886E391986DC}" sibTransId="{0500C89C-0141-4401-90C1-7EDE62711609}"/>
    <dgm:cxn modelId="{0614D0AF-5C22-4A0E-AE8A-6CAF16EB5B5B}" type="presOf" srcId="{6D6321F7-EA36-4C7D-81D6-68625777429E}" destId="{F2B326B2-BBEC-4C81-B7D0-B18C9843FF1C}" srcOrd="0" destOrd="0" presId="urn:microsoft.com/office/officeart/2005/8/layout/default"/>
    <dgm:cxn modelId="{7C8EEED3-2B31-4B9E-A11E-2A8FD9BF48A8}" srcId="{A9235B78-03EA-4A00-B6DB-71E83579D6E3}" destId="{C51ED50D-2EF9-4A75-B786-8E1006281EF1}" srcOrd="4" destOrd="0" parTransId="{E930D31D-1383-42DF-BD92-735DBBE43FE5}" sibTransId="{1C45A108-8887-4534-9794-38684D6934AA}"/>
    <dgm:cxn modelId="{F54FFFEB-68CC-48A0-8391-BBB580A31956}" srcId="{A9235B78-03EA-4A00-B6DB-71E83579D6E3}" destId="{74554D77-45D9-42FC-83F7-47D0EC85B1EA}" srcOrd="2" destOrd="0" parTransId="{7627D361-3E5E-455F-AA80-EA48D2FBBE6B}" sibTransId="{B38E7143-EDE1-42B2-9DC4-5F023DE5C54E}"/>
    <dgm:cxn modelId="{EBB1E2EC-E5C4-461A-A504-6100E86E69EF}" srcId="{A9235B78-03EA-4A00-B6DB-71E83579D6E3}" destId="{6D6321F7-EA36-4C7D-81D6-68625777429E}" srcOrd="3" destOrd="0" parTransId="{E3C86663-A101-42A9-81A0-1DA47698D40E}" sibTransId="{1A9FA8B4-09F0-4800-A79C-9527CBFCBB0D}"/>
    <dgm:cxn modelId="{D11F8613-8617-46FA-BBCA-F2860860189A}" type="presParOf" srcId="{EE501ECC-E270-4620-B2E9-0379980F72E3}" destId="{06F7073A-23D2-4F77-A936-D14C50EBDE8F}" srcOrd="0" destOrd="0" presId="urn:microsoft.com/office/officeart/2005/8/layout/default"/>
    <dgm:cxn modelId="{D41141A3-B95C-4FDD-9CB8-9FB12B7B6950}" type="presParOf" srcId="{EE501ECC-E270-4620-B2E9-0379980F72E3}" destId="{7E9BE232-0CEC-4FA3-B9F1-656510FD4AF0}" srcOrd="1" destOrd="0" presId="urn:microsoft.com/office/officeart/2005/8/layout/default"/>
    <dgm:cxn modelId="{A3842427-3890-492E-9E39-0557A9F699A6}" type="presParOf" srcId="{EE501ECC-E270-4620-B2E9-0379980F72E3}" destId="{0EC5D9F7-11DB-4C29-AA78-DAC42A11228A}" srcOrd="2" destOrd="0" presId="urn:microsoft.com/office/officeart/2005/8/layout/default"/>
    <dgm:cxn modelId="{1AF355DC-7DC3-4AAC-9CCC-7B50456CC7F1}" type="presParOf" srcId="{EE501ECC-E270-4620-B2E9-0379980F72E3}" destId="{1EA1BF99-548D-4072-AD37-AF9365EA012C}" srcOrd="3" destOrd="0" presId="urn:microsoft.com/office/officeart/2005/8/layout/default"/>
    <dgm:cxn modelId="{E02545EC-55C6-4B40-B12B-4F094A7A8AFD}" type="presParOf" srcId="{EE501ECC-E270-4620-B2E9-0379980F72E3}" destId="{E778FC93-0A0C-4F46-9B18-5F1652F97717}" srcOrd="4" destOrd="0" presId="urn:microsoft.com/office/officeart/2005/8/layout/default"/>
    <dgm:cxn modelId="{2F01DC73-50BA-4A11-98B9-6051D2739791}" type="presParOf" srcId="{EE501ECC-E270-4620-B2E9-0379980F72E3}" destId="{ABADA63D-7A31-4FDA-83D1-F2D357B3B434}" srcOrd="5" destOrd="0" presId="urn:microsoft.com/office/officeart/2005/8/layout/default"/>
    <dgm:cxn modelId="{AA42A4CC-DF63-4087-B678-6A7C05E91B40}" type="presParOf" srcId="{EE501ECC-E270-4620-B2E9-0379980F72E3}" destId="{F2B326B2-BBEC-4C81-B7D0-B18C9843FF1C}" srcOrd="6" destOrd="0" presId="urn:microsoft.com/office/officeart/2005/8/layout/default"/>
    <dgm:cxn modelId="{F09AD8C6-191A-4D61-A8E6-24099EB4F535}" type="presParOf" srcId="{EE501ECC-E270-4620-B2E9-0379980F72E3}" destId="{B463650C-2450-4078-A9AF-CE3726804E28}" srcOrd="7" destOrd="0" presId="urn:microsoft.com/office/officeart/2005/8/layout/default"/>
    <dgm:cxn modelId="{86D5258D-6BBF-4ED0-AEA4-C5F72E023662}" type="presParOf" srcId="{EE501ECC-E270-4620-B2E9-0379980F72E3}" destId="{162B735B-6E45-48AD-8D87-503CD33E057C}" srcOrd="8" destOrd="0" presId="urn:microsoft.com/office/officeart/2005/8/layout/default"/>
    <dgm:cxn modelId="{7FA35034-D2E4-4BA7-8E2D-E6E86D27DBA7}" type="presParOf" srcId="{EE501ECC-E270-4620-B2E9-0379980F72E3}" destId="{4557DBE1-CF49-4C36-9B63-5A0AAA8B436B}" srcOrd="9" destOrd="0" presId="urn:microsoft.com/office/officeart/2005/8/layout/default"/>
    <dgm:cxn modelId="{4D859F33-E408-41A3-8F1C-86B68968F12F}" type="presParOf" srcId="{EE501ECC-E270-4620-B2E9-0379980F72E3}" destId="{1AA48CC6-B6E3-4B9B-A672-204EDD3DA78B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A6806F0-62CB-4D06-B009-11D2760EC81B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07C2C4-9088-43DD-8B3E-8F43CD3D6F4F}">
      <dgm:prSet phldrT="[Text]"/>
      <dgm:spPr/>
      <dgm:t>
        <a:bodyPr/>
        <a:lstStyle/>
        <a:p>
          <a:r>
            <a:rPr lang="en-US"/>
            <a:t>Looking for grants</a:t>
          </a:r>
        </a:p>
      </dgm:t>
    </dgm:pt>
    <dgm:pt modelId="{824939E1-7C59-43CD-AF4F-C1E02E2982AA}" type="parTrans" cxnId="{5A4C15BC-FE71-4389-9B8B-A8EB924BA6CC}">
      <dgm:prSet/>
      <dgm:spPr/>
      <dgm:t>
        <a:bodyPr/>
        <a:lstStyle/>
        <a:p>
          <a:endParaRPr lang="en-US"/>
        </a:p>
      </dgm:t>
    </dgm:pt>
    <dgm:pt modelId="{63F0DDA2-FC4A-46C3-BDAD-EC153D1DDE20}" type="sibTrans" cxnId="{5A4C15BC-FE71-4389-9B8B-A8EB924BA6CC}">
      <dgm:prSet/>
      <dgm:spPr/>
      <dgm:t>
        <a:bodyPr/>
        <a:lstStyle/>
        <a:p>
          <a:endParaRPr lang="en-US"/>
        </a:p>
      </dgm:t>
    </dgm:pt>
    <dgm:pt modelId="{A73B23C2-D3EE-4D34-B7BB-876EF599AB10}">
      <dgm:prSet phldrT="[Text]"/>
      <dgm:spPr/>
      <dgm:t>
        <a:bodyPr/>
        <a:lstStyle/>
        <a:p>
          <a:r>
            <a:rPr lang="en-US"/>
            <a:t>Developing application</a:t>
          </a:r>
        </a:p>
      </dgm:t>
    </dgm:pt>
    <dgm:pt modelId="{F546AFF4-8D37-4E5F-98BA-8985AF1202BF}" type="parTrans" cxnId="{6D6B7CB8-1ACA-423B-907A-EC76767B6D96}">
      <dgm:prSet/>
      <dgm:spPr/>
      <dgm:t>
        <a:bodyPr/>
        <a:lstStyle/>
        <a:p>
          <a:endParaRPr lang="en-US"/>
        </a:p>
      </dgm:t>
    </dgm:pt>
    <dgm:pt modelId="{B043FAD9-8232-46E8-A1BD-8ABE4E6467C7}" type="sibTrans" cxnId="{6D6B7CB8-1ACA-423B-907A-EC76767B6D96}">
      <dgm:prSet/>
      <dgm:spPr/>
      <dgm:t>
        <a:bodyPr/>
        <a:lstStyle/>
        <a:p>
          <a:endParaRPr lang="en-US"/>
        </a:p>
      </dgm:t>
    </dgm:pt>
    <dgm:pt modelId="{6AEDA217-1E77-43C5-B0AA-80B2682E3A1D}">
      <dgm:prSet phldrT="[Text]"/>
      <dgm:spPr/>
      <dgm:t>
        <a:bodyPr/>
        <a:lstStyle/>
        <a:p>
          <a:r>
            <a:rPr lang="en-US"/>
            <a:t>Advocating for submitted applications</a:t>
          </a:r>
        </a:p>
      </dgm:t>
    </dgm:pt>
    <dgm:pt modelId="{F6F04803-7CEE-4C86-9F5E-4B72A0C95428}" type="parTrans" cxnId="{B92301A1-D195-4B63-A9AE-011E06F41345}">
      <dgm:prSet/>
      <dgm:spPr/>
      <dgm:t>
        <a:bodyPr/>
        <a:lstStyle/>
        <a:p>
          <a:endParaRPr lang="en-US"/>
        </a:p>
      </dgm:t>
    </dgm:pt>
    <dgm:pt modelId="{F76A1032-2B93-4C53-BF6E-A20855E06A46}" type="sibTrans" cxnId="{B92301A1-D195-4B63-A9AE-011E06F41345}">
      <dgm:prSet/>
      <dgm:spPr/>
      <dgm:t>
        <a:bodyPr/>
        <a:lstStyle/>
        <a:p>
          <a:endParaRPr lang="en-US"/>
        </a:p>
      </dgm:t>
    </dgm:pt>
    <dgm:pt modelId="{ED6FAC0A-DA4C-42FD-8EC1-121D6BDF49DB}">
      <dgm:prSet phldrT="[Text]"/>
      <dgm:spPr/>
      <dgm:t>
        <a:bodyPr/>
        <a:lstStyle/>
        <a:p>
          <a:r>
            <a:rPr lang="en-US"/>
            <a:t>Match grants to projects</a:t>
          </a:r>
        </a:p>
      </dgm:t>
    </dgm:pt>
    <dgm:pt modelId="{C63FBE4D-E5AD-4182-AA48-7353B760CE96}" type="parTrans" cxnId="{0A2FC6FA-F480-4FA7-91AC-81FEF59F46CA}">
      <dgm:prSet/>
      <dgm:spPr/>
      <dgm:t>
        <a:bodyPr/>
        <a:lstStyle/>
        <a:p>
          <a:endParaRPr lang="en-US"/>
        </a:p>
      </dgm:t>
    </dgm:pt>
    <dgm:pt modelId="{321985ED-D922-4848-9878-799D306D4C84}" type="sibTrans" cxnId="{0A2FC6FA-F480-4FA7-91AC-81FEF59F46CA}">
      <dgm:prSet/>
      <dgm:spPr/>
      <dgm:t>
        <a:bodyPr/>
        <a:lstStyle/>
        <a:p>
          <a:endParaRPr lang="en-US"/>
        </a:p>
      </dgm:t>
    </dgm:pt>
    <dgm:pt modelId="{04B2A00F-BE3D-45B3-816E-78D1504EA7F7}">
      <dgm:prSet phldrT="[Text]"/>
      <dgm:spPr/>
      <dgm:t>
        <a:bodyPr/>
        <a:lstStyle/>
        <a:p>
          <a:r>
            <a:rPr lang="en-US"/>
            <a:t>Help look for partners/co-applicants (CBOs, other states, state agencies, universities, etc.)</a:t>
          </a:r>
        </a:p>
      </dgm:t>
    </dgm:pt>
    <dgm:pt modelId="{6265820E-DDCE-4082-914F-47455D9ED753}" type="parTrans" cxnId="{E9B5DD4D-9778-4CBC-9202-DA675E8703C1}">
      <dgm:prSet/>
      <dgm:spPr/>
      <dgm:t>
        <a:bodyPr/>
        <a:lstStyle/>
        <a:p>
          <a:endParaRPr lang="en-US"/>
        </a:p>
      </dgm:t>
    </dgm:pt>
    <dgm:pt modelId="{E2D4E75C-B3B0-45A5-9BF4-09B65929FACD}" type="sibTrans" cxnId="{E9B5DD4D-9778-4CBC-9202-DA675E8703C1}">
      <dgm:prSet/>
      <dgm:spPr/>
      <dgm:t>
        <a:bodyPr/>
        <a:lstStyle/>
        <a:p>
          <a:endParaRPr lang="en-US"/>
        </a:p>
      </dgm:t>
    </dgm:pt>
    <dgm:pt modelId="{B286EB0F-ED83-4D17-91EA-B34974CDE2BE}">
      <dgm:prSet phldrT="[Text]"/>
      <dgm:spPr/>
      <dgm:t>
        <a:bodyPr/>
        <a:lstStyle/>
        <a:p>
          <a:r>
            <a:rPr lang="en-US"/>
            <a:t>Advice on labor standards, DEI , climate, language.</a:t>
          </a:r>
        </a:p>
      </dgm:t>
    </dgm:pt>
    <dgm:pt modelId="{A09C7D5F-19BC-4566-8C41-A54D8E119C46}" type="parTrans" cxnId="{E5EB7754-C247-4591-9479-6B5269FA8B9E}">
      <dgm:prSet/>
      <dgm:spPr/>
      <dgm:t>
        <a:bodyPr/>
        <a:lstStyle/>
        <a:p>
          <a:endParaRPr lang="en-US"/>
        </a:p>
      </dgm:t>
    </dgm:pt>
    <dgm:pt modelId="{D22CC61D-58F0-4140-B201-882DF12EA521}" type="sibTrans" cxnId="{E5EB7754-C247-4591-9479-6B5269FA8B9E}">
      <dgm:prSet/>
      <dgm:spPr/>
      <dgm:t>
        <a:bodyPr/>
        <a:lstStyle/>
        <a:p>
          <a:endParaRPr lang="en-US"/>
        </a:p>
      </dgm:t>
    </dgm:pt>
    <dgm:pt modelId="{DFB572BE-C9FA-4482-B1AF-C44A54BDE372}">
      <dgm:prSet phldrT="[Text]"/>
      <dgm:spPr/>
      <dgm:t>
        <a:bodyPr/>
        <a:lstStyle/>
        <a:p>
          <a:r>
            <a:rPr lang="en-US"/>
            <a:t>Review application</a:t>
          </a:r>
        </a:p>
      </dgm:t>
    </dgm:pt>
    <dgm:pt modelId="{4FC448B3-353C-4ACD-BA1F-F80A4D7A100B}" type="parTrans" cxnId="{1E96887E-B062-4975-8CB1-DCBF52F22B00}">
      <dgm:prSet/>
      <dgm:spPr/>
      <dgm:t>
        <a:bodyPr/>
        <a:lstStyle/>
        <a:p>
          <a:endParaRPr lang="en-US"/>
        </a:p>
      </dgm:t>
    </dgm:pt>
    <dgm:pt modelId="{4704A853-BEBA-44CE-86A8-FD7027BE2643}" type="sibTrans" cxnId="{1E96887E-B062-4975-8CB1-DCBF52F22B00}">
      <dgm:prSet/>
      <dgm:spPr/>
      <dgm:t>
        <a:bodyPr/>
        <a:lstStyle/>
        <a:p>
          <a:endParaRPr lang="en-US"/>
        </a:p>
      </dgm:t>
    </dgm:pt>
    <dgm:pt modelId="{14BF2072-84BF-4322-8188-74EE477242CD}">
      <dgm:prSet phldrT="[Text]"/>
      <dgm:spPr/>
      <dgm:t>
        <a:bodyPr/>
        <a:lstStyle/>
        <a:p>
          <a:r>
            <a:rPr lang="en-US"/>
            <a:t>Letters of support from the state or </a:t>
          </a:r>
          <a:r>
            <a:rPr lang="en-US" err="1"/>
            <a:t>congressionals</a:t>
          </a:r>
          <a:endParaRPr lang="en-US"/>
        </a:p>
      </dgm:t>
    </dgm:pt>
    <dgm:pt modelId="{78E33C74-5B7B-4F28-8F2B-F5807A86113B}" type="parTrans" cxnId="{9D6CBC5F-A2E9-4574-BF07-6D25C9D2500A}">
      <dgm:prSet/>
      <dgm:spPr/>
      <dgm:t>
        <a:bodyPr/>
        <a:lstStyle/>
        <a:p>
          <a:endParaRPr lang="en-US"/>
        </a:p>
      </dgm:t>
    </dgm:pt>
    <dgm:pt modelId="{D1BFF538-38D9-4E19-8A3B-5035EA7D2818}" type="sibTrans" cxnId="{9D6CBC5F-A2E9-4574-BF07-6D25C9D2500A}">
      <dgm:prSet/>
      <dgm:spPr/>
      <dgm:t>
        <a:bodyPr/>
        <a:lstStyle/>
        <a:p>
          <a:endParaRPr lang="en-US"/>
        </a:p>
      </dgm:t>
    </dgm:pt>
    <dgm:pt modelId="{A5B72A1C-743E-4005-BD47-FF1C34179364}">
      <dgm:prSet phldrT="[Text]"/>
      <dgm:spPr/>
      <dgm:t>
        <a:bodyPr/>
        <a:lstStyle/>
        <a:p>
          <a:r>
            <a:rPr lang="en-US"/>
            <a:t>Calls and in-person advocacy when FFIO is in DC.</a:t>
          </a:r>
        </a:p>
      </dgm:t>
    </dgm:pt>
    <dgm:pt modelId="{EEE899CE-24D6-46B9-918D-41DB68D914ED}" type="parTrans" cxnId="{10A25050-4B91-4951-92D3-A076FA5FBFFF}">
      <dgm:prSet/>
      <dgm:spPr/>
      <dgm:t>
        <a:bodyPr/>
        <a:lstStyle/>
        <a:p>
          <a:endParaRPr lang="en-US"/>
        </a:p>
      </dgm:t>
    </dgm:pt>
    <dgm:pt modelId="{71A5AB72-1C19-40C8-9680-B8F273CD375C}" type="sibTrans" cxnId="{10A25050-4B91-4951-92D3-A076FA5FBFFF}">
      <dgm:prSet/>
      <dgm:spPr/>
      <dgm:t>
        <a:bodyPr/>
        <a:lstStyle/>
        <a:p>
          <a:endParaRPr lang="en-US"/>
        </a:p>
      </dgm:t>
    </dgm:pt>
    <dgm:pt modelId="{2CB09FEA-F469-4511-9C33-4522F2685F40}">
      <dgm:prSet phldrT="[Text]"/>
      <dgm:spPr/>
      <dgm:t>
        <a:bodyPr/>
        <a:lstStyle/>
        <a:p>
          <a:r>
            <a:rPr lang="en-US"/>
            <a:t>Get award dates/application status</a:t>
          </a:r>
        </a:p>
      </dgm:t>
    </dgm:pt>
    <dgm:pt modelId="{E53E5205-9107-4585-9528-13B983525D50}" type="parTrans" cxnId="{016976AE-B175-4A3C-9A9E-453F702AAAD6}">
      <dgm:prSet/>
      <dgm:spPr/>
      <dgm:t>
        <a:bodyPr/>
        <a:lstStyle/>
        <a:p>
          <a:endParaRPr lang="en-US"/>
        </a:p>
      </dgm:t>
    </dgm:pt>
    <dgm:pt modelId="{D60D89ED-A3F9-458C-951F-E71CE74D5AB8}" type="sibTrans" cxnId="{016976AE-B175-4A3C-9A9E-453F702AAAD6}">
      <dgm:prSet/>
      <dgm:spPr/>
      <dgm:t>
        <a:bodyPr/>
        <a:lstStyle/>
        <a:p>
          <a:endParaRPr lang="en-US"/>
        </a:p>
      </dgm:t>
    </dgm:pt>
    <dgm:pt modelId="{07A6C5FB-3B7B-4419-9359-C97987EB5C07}" type="pres">
      <dgm:prSet presAssocID="{9A6806F0-62CB-4D06-B009-11D2760EC81B}" presName="linear" presStyleCnt="0">
        <dgm:presLayoutVars>
          <dgm:dir/>
          <dgm:animLvl val="lvl"/>
          <dgm:resizeHandles val="exact"/>
        </dgm:presLayoutVars>
      </dgm:prSet>
      <dgm:spPr/>
    </dgm:pt>
    <dgm:pt modelId="{C10F10DD-CEAE-4E4D-BB55-D65162826B01}" type="pres">
      <dgm:prSet presAssocID="{3E07C2C4-9088-43DD-8B3E-8F43CD3D6F4F}" presName="parentLin" presStyleCnt="0"/>
      <dgm:spPr/>
    </dgm:pt>
    <dgm:pt modelId="{5D3EB1AE-FC2F-4046-97CD-15A228D01F05}" type="pres">
      <dgm:prSet presAssocID="{3E07C2C4-9088-43DD-8B3E-8F43CD3D6F4F}" presName="parentLeftMargin" presStyleLbl="node1" presStyleIdx="0" presStyleCnt="3"/>
      <dgm:spPr/>
    </dgm:pt>
    <dgm:pt modelId="{49D41C6C-F171-47D2-88B7-4DB4A378454E}" type="pres">
      <dgm:prSet presAssocID="{3E07C2C4-9088-43DD-8B3E-8F43CD3D6F4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F551F827-3AB3-4910-9C7A-8A66518E54B2}" type="pres">
      <dgm:prSet presAssocID="{3E07C2C4-9088-43DD-8B3E-8F43CD3D6F4F}" presName="negativeSpace" presStyleCnt="0"/>
      <dgm:spPr/>
    </dgm:pt>
    <dgm:pt modelId="{7C24FDBF-6CCC-47F3-BFEE-FAFC35AFC15A}" type="pres">
      <dgm:prSet presAssocID="{3E07C2C4-9088-43DD-8B3E-8F43CD3D6F4F}" presName="childText" presStyleLbl="conFgAcc1" presStyleIdx="0" presStyleCnt="3">
        <dgm:presLayoutVars>
          <dgm:bulletEnabled val="1"/>
        </dgm:presLayoutVars>
      </dgm:prSet>
      <dgm:spPr/>
    </dgm:pt>
    <dgm:pt modelId="{0BCEA3BA-4365-4261-A9D4-680A2C457EAD}" type="pres">
      <dgm:prSet presAssocID="{63F0DDA2-FC4A-46C3-BDAD-EC153D1DDE20}" presName="spaceBetweenRectangles" presStyleCnt="0"/>
      <dgm:spPr/>
    </dgm:pt>
    <dgm:pt modelId="{EF2E5676-C76D-4A11-97EA-6364B2325243}" type="pres">
      <dgm:prSet presAssocID="{A73B23C2-D3EE-4D34-B7BB-876EF599AB10}" presName="parentLin" presStyleCnt="0"/>
      <dgm:spPr/>
    </dgm:pt>
    <dgm:pt modelId="{B55D7700-34F0-4035-8689-5ECD44005A7F}" type="pres">
      <dgm:prSet presAssocID="{A73B23C2-D3EE-4D34-B7BB-876EF599AB10}" presName="parentLeftMargin" presStyleLbl="node1" presStyleIdx="0" presStyleCnt="3"/>
      <dgm:spPr/>
    </dgm:pt>
    <dgm:pt modelId="{D2F30F6F-C273-415D-913B-76942B2A84A9}" type="pres">
      <dgm:prSet presAssocID="{A73B23C2-D3EE-4D34-B7BB-876EF599AB10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0109A73F-3917-4F2A-895D-7071E6F10C2E}" type="pres">
      <dgm:prSet presAssocID="{A73B23C2-D3EE-4D34-B7BB-876EF599AB10}" presName="negativeSpace" presStyleCnt="0"/>
      <dgm:spPr/>
    </dgm:pt>
    <dgm:pt modelId="{AC360656-5180-4A8C-B968-F5E1DF01588C}" type="pres">
      <dgm:prSet presAssocID="{A73B23C2-D3EE-4D34-B7BB-876EF599AB10}" presName="childText" presStyleLbl="conFgAcc1" presStyleIdx="1" presStyleCnt="3">
        <dgm:presLayoutVars>
          <dgm:bulletEnabled val="1"/>
        </dgm:presLayoutVars>
      </dgm:prSet>
      <dgm:spPr/>
    </dgm:pt>
    <dgm:pt modelId="{C72C48DC-E81A-4A41-A02B-9B6342759062}" type="pres">
      <dgm:prSet presAssocID="{B043FAD9-8232-46E8-A1BD-8ABE4E6467C7}" presName="spaceBetweenRectangles" presStyleCnt="0"/>
      <dgm:spPr/>
    </dgm:pt>
    <dgm:pt modelId="{3DCEEC0D-6D51-41F5-8E15-48008E269E37}" type="pres">
      <dgm:prSet presAssocID="{6AEDA217-1E77-43C5-B0AA-80B2682E3A1D}" presName="parentLin" presStyleCnt="0"/>
      <dgm:spPr/>
    </dgm:pt>
    <dgm:pt modelId="{72E4CE5E-4BEE-4502-9C99-3D566402CF61}" type="pres">
      <dgm:prSet presAssocID="{6AEDA217-1E77-43C5-B0AA-80B2682E3A1D}" presName="parentLeftMargin" presStyleLbl="node1" presStyleIdx="1" presStyleCnt="3"/>
      <dgm:spPr/>
    </dgm:pt>
    <dgm:pt modelId="{12DE117D-80F9-462C-9C3C-AF04E8707F03}" type="pres">
      <dgm:prSet presAssocID="{6AEDA217-1E77-43C5-B0AA-80B2682E3A1D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CD22010C-7E51-48A7-9DBC-9F85FD42EA9C}" type="pres">
      <dgm:prSet presAssocID="{6AEDA217-1E77-43C5-B0AA-80B2682E3A1D}" presName="negativeSpace" presStyleCnt="0"/>
      <dgm:spPr/>
    </dgm:pt>
    <dgm:pt modelId="{329BB4AB-C9F0-4629-8902-58BF17357DBE}" type="pres">
      <dgm:prSet presAssocID="{6AEDA217-1E77-43C5-B0AA-80B2682E3A1D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E95CF08-75F6-40F3-B19B-9F912D1A9A27}" type="presOf" srcId="{9A6806F0-62CB-4D06-B009-11D2760EC81B}" destId="{07A6C5FB-3B7B-4419-9359-C97987EB5C07}" srcOrd="0" destOrd="0" presId="urn:microsoft.com/office/officeart/2005/8/layout/list1"/>
    <dgm:cxn modelId="{E8CAB40B-4C8B-4CDA-936C-072551559BCC}" type="presOf" srcId="{14BF2072-84BF-4322-8188-74EE477242CD}" destId="{329BB4AB-C9F0-4629-8902-58BF17357DBE}" srcOrd="0" destOrd="0" presId="urn:microsoft.com/office/officeart/2005/8/layout/list1"/>
    <dgm:cxn modelId="{1D80AD20-20E2-4CB8-982E-A8432E96EC81}" type="presOf" srcId="{3E07C2C4-9088-43DD-8B3E-8F43CD3D6F4F}" destId="{49D41C6C-F171-47D2-88B7-4DB4A378454E}" srcOrd="1" destOrd="0" presId="urn:microsoft.com/office/officeart/2005/8/layout/list1"/>
    <dgm:cxn modelId="{5D0EA728-CB37-4918-9053-2E5D63EF5968}" type="presOf" srcId="{A73B23C2-D3EE-4D34-B7BB-876EF599AB10}" destId="{D2F30F6F-C273-415D-913B-76942B2A84A9}" srcOrd="1" destOrd="0" presId="urn:microsoft.com/office/officeart/2005/8/layout/list1"/>
    <dgm:cxn modelId="{CACE892E-A2F8-4BC5-BBA4-F3A688909172}" type="presOf" srcId="{A73B23C2-D3EE-4D34-B7BB-876EF599AB10}" destId="{B55D7700-34F0-4035-8689-5ECD44005A7F}" srcOrd="0" destOrd="0" presId="urn:microsoft.com/office/officeart/2005/8/layout/list1"/>
    <dgm:cxn modelId="{9D6CBC5F-A2E9-4574-BF07-6D25C9D2500A}" srcId="{6AEDA217-1E77-43C5-B0AA-80B2682E3A1D}" destId="{14BF2072-84BF-4322-8188-74EE477242CD}" srcOrd="0" destOrd="0" parTransId="{78E33C74-5B7B-4F28-8F2B-F5807A86113B}" sibTransId="{D1BFF538-38D9-4E19-8A3B-5035EA7D2818}"/>
    <dgm:cxn modelId="{D44FFA44-52A8-48C4-82A0-65879443E4C0}" type="presOf" srcId="{2CB09FEA-F469-4511-9C33-4522F2685F40}" destId="{329BB4AB-C9F0-4629-8902-58BF17357DBE}" srcOrd="0" destOrd="2" presId="urn:microsoft.com/office/officeart/2005/8/layout/list1"/>
    <dgm:cxn modelId="{5EFDD06C-F8BE-4464-9F31-DA56ACE48871}" type="presOf" srcId="{3E07C2C4-9088-43DD-8B3E-8F43CD3D6F4F}" destId="{5D3EB1AE-FC2F-4046-97CD-15A228D01F05}" srcOrd="0" destOrd="0" presId="urn:microsoft.com/office/officeart/2005/8/layout/list1"/>
    <dgm:cxn modelId="{E9B5DD4D-9778-4CBC-9202-DA675E8703C1}" srcId="{3E07C2C4-9088-43DD-8B3E-8F43CD3D6F4F}" destId="{04B2A00F-BE3D-45B3-816E-78D1504EA7F7}" srcOrd="1" destOrd="0" parTransId="{6265820E-DDCE-4082-914F-47455D9ED753}" sibTransId="{E2D4E75C-B3B0-45A5-9BF4-09B65929FACD}"/>
    <dgm:cxn modelId="{10A25050-4B91-4951-92D3-A076FA5FBFFF}" srcId="{6AEDA217-1E77-43C5-B0AA-80B2682E3A1D}" destId="{A5B72A1C-743E-4005-BD47-FF1C34179364}" srcOrd="1" destOrd="0" parTransId="{EEE899CE-24D6-46B9-918D-41DB68D914ED}" sibTransId="{71A5AB72-1C19-40C8-9680-B8F273CD375C}"/>
    <dgm:cxn modelId="{E5EB7754-C247-4591-9479-6B5269FA8B9E}" srcId="{A73B23C2-D3EE-4D34-B7BB-876EF599AB10}" destId="{B286EB0F-ED83-4D17-91EA-B34974CDE2BE}" srcOrd="0" destOrd="0" parTransId="{A09C7D5F-19BC-4566-8C41-A54D8E119C46}" sibTransId="{D22CC61D-58F0-4140-B201-882DF12EA521}"/>
    <dgm:cxn modelId="{1E96887E-B062-4975-8CB1-DCBF52F22B00}" srcId="{A73B23C2-D3EE-4D34-B7BB-876EF599AB10}" destId="{DFB572BE-C9FA-4482-B1AF-C44A54BDE372}" srcOrd="1" destOrd="0" parTransId="{4FC448B3-353C-4ACD-BA1F-F80A4D7A100B}" sibTransId="{4704A853-BEBA-44CE-86A8-FD7027BE2643}"/>
    <dgm:cxn modelId="{B315CD93-2D51-43F6-BC20-077E70B85E05}" type="presOf" srcId="{ED6FAC0A-DA4C-42FD-8EC1-121D6BDF49DB}" destId="{7C24FDBF-6CCC-47F3-BFEE-FAFC35AFC15A}" srcOrd="0" destOrd="0" presId="urn:microsoft.com/office/officeart/2005/8/layout/list1"/>
    <dgm:cxn modelId="{CB2FF2A0-7FEF-4EFD-A8BB-128D02354E08}" type="presOf" srcId="{A5B72A1C-743E-4005-BD47-FF1C34179364}" destId="{329BB4AB-C9F0-4629-8902-58BF17357DBE}" srcOrd="0" destOrd="1" presId="urn:microsoft.com/office/officeart/2005/8/layout/list1"/>
    <dgm:cxn modelId="{B92301A1-D195-4B63-A9AE-011E06F41345}" srcId="{9A6806F0-62CB-4D06-B009-11D2760EC81B}" destId="{6AEDA217-1E77-43C5-B0AA-80B2682E3A1D}" srcOrd="2" destOrd="0" parTransId="{F6F04803-7CEE-4C86-9F5E-4B72A0C95428}" sibTransId="{F76A1032-2B93-4C53-BF6E-A20855E06A46}"/>
    <dgm:cxn modelId="{016976AE-B175-4A3C-9A9E-453F702AAAD6}" srcId="{6AEDA217-1E77-43C5-B0AA-80B2682E3A1D}" destId="{2CB09FEA-F469-4511-9C33-4522F2685F40}" srcOrd="2" destOrd="0" parTransId="{E53E5205-9107-4585-9528-13B983525D50}" sibTransId="{D60D89ED-A3F9-458C-951F-E71CE74D5AB8}"/>
    <dgm:cxn modelId="{6D6B7CB8-1ACA-423B-907A-EC76767B6D96}" srcId="{9A6806F0-62CB-4D06-B009-11D2760EC81B}" destId="{A73B23C2-D3EE-4D34-B7BB-876EF599AB10}" srcOrd="1" destOrd="0" parTransId="{F546AFF4-8D37-4E5F-98BA-8985AF1202BF}" sibTransId="{B043FAD9-8232-46E8-A1BD-8ABE4E6467C7}"/>
    <dgm:cxn modelId="{5A4C15BC-FE71-4389-9B8B-A8EB924BA6CC}" srcId="{9A6806F0-62CB-4D06-B009-11D2760EC81B}" destId="{3E07C2C4-9088-43DD-8B3E-8F43CD3D6F4F}" srcOrd="0" destOrd="0" parTransId="{824939E1-7C59-43CD-AF4F-C1E02E2982AA}" sibTransId="{63F0DDA2-FC4A-46C3-BDAD-EC153D1DDE20}"/>
    <dgm:cxn modelId="{6B91C8C4-9725-4F0C-A8EE-F4C95A9A0830}" type="presOf" srcId="{04B2A00F-BE3D-45B3-816E-78D1504EA7F7}" destId="{7C24FDBF-6CCC-47F3-BFEE-FAFC35AFC15A}" srcOrd="0" destOrd="1" presId="urn:microsoft.com/office/officeart/2005/8/layout/list1"/>
    <dgm:cxn modelId="{1F8818C7-F311-4339-8A5E-AC1D80629ECC}" type="presOf" srcId="{DFB572BE-C9FA-4482-B1AF-C44A54BDE372}" destId="{AC360656-5180-4A8C-B968-F5E1DF01588C}" srcOrd="0" destOrd="1" presId="urn:microsoft.com/office/officeart/2005/8/layout/list1"/>
    <dgm:cxn modelId="{63F82BC7-B603-47DC-A3A6-F37D96920B52}" type="presOf" srcId="{B286EB0F-ED83-4D17-91EA-B34974CDE2BE}" destId="{AC360656-5180-4A8C-B968-F5E1DF01588C}" srcOrd="0" destOrd="0" presId="urn:microsoft.com/office/officeart/2005/8/layout/list1"/>
    <dgm:cxn modelId="{C0785ED9-F997-4F53-87E3-EA75DDB23D9C}" type="presOf" srcId="{6AEDA217-1E77-43C5-B0AA-80B2682E3A1D}" destId="{72E4CE5E-4BEE-4502-9C99-3D566402CF61}" srcOrd="0" destOrd="0" presId="urn:microsoft.com/office/officeart/2005/8/layout/list1"/>
    <dgm:cxn modelId="{F90198D9-A4DB-45D8-93E6-4CA50DB30C1B}" type="presOf" srcId="{6AEDA217-1E77-43C5-B0AA-80B2682E3A1D}" destId="{12DE117D-80F9-462C-9C3C-AF04E8707F03}" srcOrd="1" destOrd="0" presId="urn:microsoft.com/office/officeart/2005/8/layout/list1"/>
    <dgm:cxn modelId="{0A2FC6FA-F480-4FA7-91AC-81FEF59F46CA}" srcId="{3E07C2C4-9088-43DD-8B3E-8F43CD3D6F4F}" destId="{ED6FAC0A-DA4C-42FD-8EC1-121D6BDF49DB}" srcOrd="0" destOrd="0" parTransId="{C63FBE4D-E5AD-4182-AA48-7353B760CE96}" sibTransId="{321985ED-D922-4848-9878-799D306D4C84}"/>
    <dgm:cxn modelId="{CBADA990-A76A-4CE8-837F-44AF2D5DEB68}" type="presParOf" srcId="{07A6C5FB-3B7B-4419-9359-C97987EB5C07}" destId="{C10F10DD-CEAE-4E4D-BB55-D65162826B01}" srcOrd="0" destOrd="0" presId="urn:microsoft.com/office/officeart/2005/8/layout/list1"/>
    <dgm:cxn modelId="{3852F132-CD10-4812-8653-4D348344AEDC}" type="presParOf" srcId="{C10F10DD-CEAE-4E4D-BB55-D65162826B01}" destId="{5D3EB1AE-FC2F-4046-97CD-15A228D01F05}" srcOrd="0" destOrd="0" presId="urn:microsoft.com/office/officeart/2005/8/layout/list1"/>
    <dgm:cxn modelId="{A306F8EC-F3B3-4EAF-8387-9F6B8F9ED4D3}" type="presParOf" srcId="{C10F10DD-CEAE-4E4D-BB55-D65162826B01}" destId="{49D41C6C-F171-47D2-88B7-4DB4A378454E}" srcOrd="1" destOrd="0" presId="urn:microsoft.com/office/officeart/2005/8/layout/list1"/>
    <dgm:cxn modelId="{E721D466-4374-44FA-8F84-D3D1F080CAFB}" type="presParOf" srcId="{07A6C5FB-3B7B-4419-9359-C97987EB5C07}" destId="{F551F827-3AB3-4910-9C7A-8A66518E54B2}" srcOrd="1" destOrd="0" presId="urn:microsoft.com/office/officeart/2005/8/layout/list1"/>
    <dgm:cxn modelId="{E3F1938F-C1CA-4679-BA50-B4069C703261}" type="presParOf" srcId="{07A6C5FB-3B7B-4419-9359-C97987EB5C07}" destId="{7C24FDBF-6CCC-47F3-BFEE-FAFC35AFC15A}" srcOrd="2" destOrd="0" presId="urn:microsoft.com/office/officeart/2005/8/layout/list1"/>
    <dgm:cxn modelId="{32F26E36-B5A1-4300-A148-35111283FFD0}" type="presParOf" srcId="{07A6C5FB-3B7B-4419-9359-C97987EB5C07}" destId="{0BCEA3BA-4365-4261-A9D4-680A2C457EAD}" srcOrd="3" destOrd="0" presId="urn:microsoft.com/office/officeart/2005/8/layout/list1"/>
    <dgm:cxn modelId="{5E9CCAB5-0B54-4FF2-8194-064F0CF48DE6}" type="presParOf" srcId="{07A6C5FB-3B7B-4419-9359-C97987EB5C07}" destId="{EF2E5676-C76D-4A11-97EA-6364B2325243}" srcOrd="4" destOrd="0" presId="urn:microsoft.com/office/officeart/2005/8/layout/list1"/>
    <dgm:cxn modelId="{78E88EC8-BBAC-49B4-AF3C-D7069EBE3726}" type="presParOf" srcId="{EF2E5676-C76D-4A11-97EA-6364B2325243}" destId="{B55D7700-34F0-4035-8689-5ECD44005A7F}" srcOrd="0" destOrd="0" presId="urn:microsoft.com/office/officeart/2005/8/layout/list1"/>
    <dgm:cxn modelId="{A3CE8664-057D-42B7-841D-35BE21825704}" type="presParOf" srcId="{EF2E5676-C76D-4A11-97EA-6364B2325243}" destId="{D2F30F6F-C273-415D-913B-76942B2A84A9}" srcOrd="1" destOrd="0" presId="urn:microsoft.com/office/officeart/2005/8/layout/list1"/>
    <dgm:cxn modelId="{C0C5602E-7899-47A5-8027-4C927BD8A31B}" type="presParOf" srcId="{07A6C5FB-3B7B-4419-9359-C97987EB5C07}" destId="{0109A73F-3917-4F2A-895D-7071E6F10C2E}" srcOrd="5" destOrd="0" presId="urn:microsoft.com/office/officeart/2005/8/layout/list1"/>
    <dgm:cxn modelId="{B581450C-617D-4CFE-A67D-54C15D00A030}" type="presParOf" srcId="{07A6C5FB-3B7B-4419-9359-C97987EB5C07}" destId="{AC360656-5180-4A8C-B968-F5E1DF01588C}" srcOrd="6" destOrd="0" presId="urn:microsoft.com/office/officeart/2005/8/layout/list1"/>
    <dgm:cxn modelId="{D3D864F7-338A-41DB-9F09-C20346D04512}" type="presParOf" srcId="{07A6C5FB-3B7B-4419-9359-C97987EB5C07}" destId="{C72C48DC-E81A-4A41-A02B-9B6342759062}" srcOrd="7" destOrd="0" presId="urn:microsoft.com/office/officeart/2005/8/layout/list1"/>
    <dgm:cxn modelId="{F3835D7C-9FEE-4C67-8D01-19FEBEEC742A}" type="presParOf" srcId="{07A6C5FB-3B7B-4419-9359-C97987EB5C07}" destId="{3DCEEC0D-6D51-41F5-8E15-48008E269E37}" srcOrd="8" destOrd="0" presId="urn:microsoft.com/office/officeart/2005/8/layout/list1"/>
    <dgm:cxn modelId="{5CA0E2F8-99F8-4728-BE47-69F63E924F96}" type="presParOf" srcId="{3DCEEC0D-6D51-41F5-8E15-48008E269E37}" destId="{72E4CE5E-4BEE-4502-9C99-3D566402CF61}" srcOrd="0" destOrd="0" presId="urn:microsoft.com/office/officeart/2005/8/layout/list1"/>
    <dgm:cxn modelId="{4F170A1E-D145-41B9-BE98-6FA4C166DA9B}" type="presParOf" srcId="{3DCEEC0D-6D51-41F5-8E15-48008E269E37}" destId="{12DE117D-80F9-462C-9C3C-AF04E8707F03}" srcOrd="1" destOrd="0" presId="urn:microsoft.com/office/officeart/2005/8/layout/list1"/>
    <dgm:cxn modelId="{D1921F77-7311-45F2-A7E9-CE9E130E710E}" type="presParOf" srcId="{07A6C5FB-3B7B-4419-9359-C97987EB5C07}" destId="{CD22010C-7E51-48A7-9DBC-9F85FD42EA9C}" srcOrd="9" destOrd="0" presId="urn:microsoft.com/office/officeart/2005/8/layout/list1"/>
    <dgm:cxn modelId="{7FBA6782-AC39-45E7-AAC4-D621B527D51C}" type="presParOf" srcId="{07A6C5FB-3B7B-4419-9359-C97987EB5C07}" destId="{329BB4AB-C9F0-4629-8902-58BF17357DBE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1B674-69EE-409B-914D-7D2EAE1473A3}">
      <dsp:nvSpPr>
        <dsp:cNvPr id="0" name=""/>
        <dsp:cNvSpPr/>
      </dsp:nvSpPr>
      <dsp:spPr>
        <a:xfrm>
          <a:off x="0" y="785"/>
          <a:ext cx="70662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876F2-4573-48DE-B38C-14FA55582084}">
      <dsp:nvSpPr>
        <dsp:cNvPr id="0" name=""/>
        <dsp:cNvSpPr/>
      </dsp:nvSpPr>
      <dsp:spPr>
        <a:xfrm>
          <a:off x="0" y="78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About FFIO</a:t>
          </a:r>
        </a:p>
      </dsp:txBody>
      <dsp:txXfrm>
        <a:off x="0" y="785"/>
        <a:ext cx="7066273" cy="715179"/>
      </dsp:txXfrm>
    </dsp:sp>
    <dsp:sp modelId="{5ADED652-3E0A-4D4C-BCAD-59477DBCEA60}">
      <dsp:nvSpPr>
        <dsp:cNvPr id="0" name=""/>
        <dsp:cNvSpPr/>
      </dsp:nvSpPr>
      <dsp:spPr>
        <a:xfrm>
          <a:off x="0" y="715965"/>
          <a:ext cx="7066273" cy="0"/>
        </a:xfrm>
        <a:prstGeom prst="line">
          <a:avLst/>
        </a:prstGeom>
        <a:solidFill>
          <a:schemeClr val="accent2">
            <a:hueOff val="-165422"/>
            <a:satOff val="186"/>
            <a:lumOff val="441"/>
            <a:alphaOff val="0"/>
          </a:schemeClr>
        </a:solidFill>
        <a:ln w="15875" cap="flat" cmpd="sng" algn="ctr">
          <a:solidFill>
            <a:schemeClr val="accent2">
              <a:hueOff val="-165422"/>
              <a:satOff val="186"/>
              <a:lumOff val="44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9DE12F-2110-D447-95A9-FB79001D3523}">
      <dsp:nvSpPr>
        <dsp:cNvPr id="0" name=""/>
        <dsp:cNvSpPr/>
      </dsp:nvSpPr>
      <dsp:spPr>
        <a:xfrm>
          <a:off x="0" y="71596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spc="200">
              <a:latin typeface="TW Cen MT"/>
            </a:rPr>
            <a:t>Local Government Engagement</a:t>
          </a:r>
          <a:endParaRPr lang="en-GB" sz="2400" kern="1200"/>
        </a:p>
      </dsp:txBody>
      <dsp:txXfrm>
        <a:off x="0" y="715965"/>
        <a:ext cx="7066273" cy="715179"/>
      </dsp:txXfrm>
    </dsp:sp>
    <dsp:sp modelId="{5EA078E5-D83B-4C7B-9388-D30175397E4B}">
      <dsp:nvSpPr>
        <dsp:cNvPr id="0" name=""/>
        <dsp:cNvSpPr/>
      </dsp:nvSpPr>
      <dsp:spPr>
        <a:xfrm>
          <a:off x="0" y="1431145"/>
          <a:ext cx="7066273" cy="0"/>
        </a:xfrm>
        <a:prstGeom prst="line">
          <a:avLst/>
        </a:prstGeom>
        <a:solidFill>
          <a:schemeClr val="accent2">
            <a:hueOff val="-330843"/>
            <a:satOff val="373"/>
            <a:lumOff val="882"/>
            <a:alphaOff val="0"/>
          </a:schemeClr>
        </a:solidFill>
        <a:ln w="15875" cap="flat" cmpd="sng" algn="ctr">
          <a:solidFill>
            <a:schemeClr val="accent2">
              <a:hueOff val="-330843"/>
              <a:satOff val="373"/>
              <a:lumOff val="88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FC1A20-8B95-442F-BAFF-F90F8F847D83}">
      <dsp:nvSpPr>
        <dsp:cNvPr id="0" name=""/>
        <dsp:cNvSpPr/>
      </dsp:nvSpPr>
      <dsp:spPr>
        <a:xfrm>
          <a:off x="0" y="1431145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Federal Matching Funds Legislation</a:t>
          </a:r>
          <a:endParaRPr lang="en-US" sz="2400" kern="1200" spc="200">
            <a:latin typeface="TW Cen MT"/>
          </a:endParaRPr>
        </a:p>
      </dsp:txBody>
      <dsp:txXfrm>
        <a:off x="0" y="1431145"/>
        <a:ext cx="7066273" cy="715179"/>
      </dsp:txXfrm>
    </dsp:sp>
    <dsp:sp modelId="{ADBEFBAA-1DC9-475B-9136-FA43407CC1CE}">
      <dsp:nvSpPr>
        <dsp:cNvPr id="0" name=""/>
        <dsp:cNvSpPr/>
      </dsp:nvSpPr>
      <dsp:spPr>
        <a:xfrm>
          <a:off x="0" y="2146324"/>
          <a:ext cx="7066273" cy="0"/>
        </a:xfrm>
        <a:prstGeom prst="line">
          <a:avLst/>
        </a:prstGeom>
        <a:solidFill>
          <a:schemeClr val="accent2">
            <a:hueOff val="-496265"/>
            <a:satOff val="559"/>
            <a:lumOff val="1324"/>
            <a:alphaOff val="0"/>
          </a:schemeClr>
        </a:solidFill>
        <a:ln w="15875" cap="flat" cmpd="sng" algn="ctr">
          <a:solidFill>
            <a:schemeClr val="accent2">
              <a:hueOff val="-496265"/>
              <a:satOff val="559"/>
              <a:lumOff val="132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D216CE-DBBB-4015-94FA-0F2C9B1358A9}">
      <dsp:nvSpPr>
        <dsp:cNvPr id="0" name=""/>
        <dsp:cNvSpPr/>
      </dsp:nvSpPr>
      <dsp:spPr>
        <a:xfrm>
          <a:off x="0" y="214632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spc="200">
              <a:latin typeface="TW Cen MT"/>
            </a:rPr>
            <a:t>New Federal Funding Opportunities </a:t>
          </a:r>
          <a:endParaRPr lang="en-US" sz="2400" kern="1200">
            <a:latin typeface="TW Cen MT"/>
          </a:endParaRPr>
        </a:p>
      </dsp:txBody>
      <dsp:txXfrm>
        <a:off x="0" y="2146324"/>
        <a:ext cx="7066273" cy="715179"/>
      </dsp:txXfrm>
    </dsp:sp>
    <dsp:sp modelId="{DA940355-1F91-41FC-AB0C-B939F04CF7DC}">
      <dsp:nvSpPr>
        <dsp:cNvPr id="0" name=""/>
        <dsp:cNvSpPr/>
      </dsp:nvSpPr>
      <dsp:spPr>
        <a:xfrm>
          <a:off x="0" y="2861504"/>
          <a:ext cx="7066273" cy="0"/>
        </a:xfrm>
        <a:prstGeom prst="line">
          <a:avLst/>
        </a:prstGeom>
        <a:solidFill>
          <a:schemeClr val="accent2">
            <a:hueOff val="-661686"/>
            <a:satOff val="746"/>
            <a:lumOff val="1765"/>
            <a:alphaOff val="0"/>
          </a:schemeClr>
        </a:solidFill>
        <a:ln w="15875" cap="flat" cmpd="sng" algn="ctr">
          <a:solidFill>
            <a:schemeClr val="accent2">
              <a:hueOff val="-661686"/>
              <a:satOff val="746"/>
              <a:lumOff val="176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BB8A6B-4C45-48D7-ACD7-EF00673E2F1F}">
      <dsp:nvSpPr>
        <dsp:cNvPr id="0" name=""/>
        <dsp:cNvSpPr/>
      </dsp:nvSpPr>
      <dsp:spPr>
        <a:xfrm>
          <a:off x="0" y="286150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i="0" u="none" kern="1200"/>
            <a:t>MassDOT Municipal Grants</a:t>
          </a:r>
          <a:endParaRPr lang="en-US" sz="2400" kern="1200">
            <a:latin typeface="TW Cen MT"/>
          </a:endParaRPr>
        </a:p>
      </dsp:txBody>
      <dsp:txXfrm>
        <a:off x="0" y="2861504"/>
        <a:ext cx="7066273" cy="715179"/>
      </dsp:txXfrm>
    </dsp:sp>
    <dsp:sp modelId="{DCEBEB47-31FE-4FFE-A2E1-2EE1438E80EF}">
      <dsp:nvSpPr>
        <dsp:cNvPr id="0" name=""/>
        <dsp:cNvSpPr/>
      </dsp:nvSpPr>
      <dsp:spPr>
        <a:xfrm>
          <a:off x="0" y="3576684"/>
          <a:ext cx="7066273" cy="0"/>
        </a:xfrm>
        <a:prstGeom prst="line">
          <a:avLst/>
        </a:prstGeom>
        <a:solidFill>
          <a:schemeClr val="accent2">
            <a:hueOff val="-827108"/>
            <a:satOff val="932"/>
            <a:lumOff val="2206"/>
            <a:alphaOff val="0"/>
          </a:schemeClr>
        </a:solidFill>
        <a:ln w="15875" cap="flat" cmpd="sng" algn="ctr">
          <a:solidFill>
            <a:schemeClr val="accent2">
              <a:hueOff val="-827108"/>
              <a:satOff val="932"/>
              <a:lumOff val="220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54600F-BE1E-4B91-BE4F-AC824F342AAB}">
      <dsp:nvSpPr>
        <dsp:cNvPr id="0" name=""/>
        <dsp:cNvSpPr/>
      </dsp:nvSpPr>
      <dsp:spPr>
        <a:xfrm>
          <a:off x="0" y="357668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irect Pay</a:t>
          </a:r>
          <a:endParaRPr lang="en-GB" sz="2400" kern="1200"/>
        </a:p>
      </dsp:txBody>
      <dsp:txXfrm>
        <a:off x="0" y="3576684"/>
        <a:ext cx="7066273" cy="715179"/>
      </dsp:txXfrm>
    </dsp:sp>
    <dsp:sp modelId="{E67B73E6-76EC-446A-A062-4CE8A9719B0F}">
      <dsp:nvSpPr>
        <dsp:cNvPr id="0" name=""/>
        <dsp:cNvSpPr/>
      </dsp:nvSpPr>
      <dsp:spPr>
        <a:xfrm>
          <a:off x="0" y="4291864"/>
          <a:ext cx="7066273" cy="0"/>
        </a:xfrm>
        <a:prstGeom prst="line">
          <a:avLst/>
        </a:prstGeom>
        <a:solidFill>
          <a:schemeClr val="accent2">
            <a:hueOff val="-992530"/>
            <a:satOff val="1119"/>
            <a:lumOff val="2647"/>
            <a:alphaOff val="0"/>
          </a:schemeClr>
        </a:solidFill>
        <a:ln w="15875" cap="flat" cmpd="sng" algn="ctr">
          <a:solidFill>
            <a:schemeClr val="accent2">
              <a:hueOff val="-992530"/>
              <a:satOff val="1119"/>
              <a:lumOff val="264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4C10E0-63CC-4FCF-ADE2-D0A8D34E41F4}">
      <dsp:nvSpPr>
        <dsp:cNvPr id="0" name=""/>
        <dsp:cNvSpPr/>
      </dsp:nvSpPr>
      <dsp:spPr>
        <a:xfrm>
          <a:off x="0" y="4291864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err="1"/>
            <a:t>GrantWell</a:t>
          </a:r>
          <a:r>
            <a:rPr lang="en-GB" sz="2400" kern="1200"/>
            <a:t>: Simplifying Federal Grant Application Processes with AI</a:t>
          </a:r>
        </a:p>
      </dsp:txBody>
      <dsp:txXfrm>
        <a:off x="0" y="4291864"/>
        <a:ext cx="7066273" cy="715179"/>
      </dsp:txXfrm>
    </dsp:sp>
    <dsp:sp modelId="{3F1E35BF-8F97-D548-B80A-A7F4A98E267F}">
      <dsp:nvSpPr>
        <dsp:cNvPr id="0" name=""/>
        <dsp:cNvSpPr/>
      </dsp:nvSpPr>
      <dsp:spPr>
        <a:xfrm>
          <a:off x="0" y="5007043"/>
          <a:ext cx="7066273" cy="0"/>
        </a:xfrm>
        <a:prstGeom prst="line">
          <a:avLst/>
        </a:prstGeom>
        <a:solidFill>
          <a:schemeClr val="accent2">
            <a:hueOff val="-1157951"/>
            <a:satOff val="1305"/>
            <a:lumOff val="3089"/>
            <a:alphaOff val="0"/>
          </a:schemeClr>
        </a:solidFill>
        <a:ln w="15875" cap="flat" cmpd="sng" algn="ctr">
          <a:solidFill>
            <a:schemeClr val="accent2">
              <a:hueOff val="-1157951"/>
              <a:satOff val="1305"/>
              <a:lumOff val="308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3EA04C-AEB2-B541-AC28-C5AAD7F954D2}">
      <dsp:nvSpPr>
        <dsp:cNvPr id="0" name=""/>
        <dsp:cNvSpPr/>
      </dsp:nvSpPr>
      <dsp:spPr>
        <a:xfrm>
          <a:off x="0" y="5007043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/>
            <a:t>Audience Engagement Exercise</a:t>
          </a:r>
        </a:p>
      </dsp:txBody>
      <dsp:txXfrm>
        <a:off x="0" y="5007043"/>
        <a:ext cx="7066273" cy="715179"/>
      </dsp:txXfrm>
    </dsp:sp>
    <dsp:sp modelId="{07309E4B-D895-4811-8C7D-BBE793C6B3C3}">
      <dsp:nvSpPr>
        <dsp:cNvPr id="0" name=""/>
        <dsp:cNvSpPr/>
      </dsp:nvSpPr>
      <dsp:spPr>
        <a:xfrm>
          <a:off x="0" y="5722223"/>
          <a:ext cx="7066273" cy="0"/>
        </a:xfrm>
        <a:prstGeom prst="line">
          <a:avLst/>
        </a:prstGeom>
        <a:solidFill>
          <a:schemeClr val="accent2">
            <a:hueOff val="-1323373"/>
            <a:satOff val="1492"/>
            <a:lumOff val="3530"/>
            <a:alphaOff val="0"/>
          </a:schemeClr>
        </a:solidFill>
        <a:ln w="15875" cap="flat" cmpd="sng" algn="ctr">
          <a:solidFill>
            <a:schemeClr val="accent2">
              <a:hueOff val="-1323373"/>
              <a:satOff val="1492"/>
              <a:lumOff val="35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F24777-2AA6-456F-B41E-CE00E6F86F5E}">
      <dsp:nvSpPr>
        <dsp:cNvPr id="0" name=""/>
        <dsp:cNvSpPr/>
      </dsp:nvSpPr>
      <dsp:spPr>
        <a:xfrm>
          <a:off x="0" y="5722223"/>
          <a:ext cx="7066273" cy="7151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>
              <a:latin typeface="TW Cen MT"/>
            </a:rPr>
            <a:t>Q&amp;A / Discussion</a:t>
          </a:r>
        </a:p>
      </dsp:txBody>
      <dsp:txXfrm>
        <a:off x="0" y="5722223"/>
        <a:ext cx="7066273" cy="7151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4C0CFE-CB0A-44B3-89C8-D749A9E1B18C}">
      <dsp:nvSpPr>
        <dsp:cNvPr id="0" name=""/>
        <dsp:cNvSpPr/>
      </dsp:nvSpPr>
      <dsp:spPr>
        <a:xfrm>
          <a:off x="0" y="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8E8319-B6D5-49D3-B540-92B6D9A64BEC}">
      <dsp:nvSpPr>
        <dsp:cNvPr id="0" name=""/>
        <dsp:cNvSpPr/>
      </dsp:nvSpPr>
      <dsp:spPr>
        <a:xfrm>
          <a:off x="347869" y="261014"/>
          <a:ext cx="632489" cy="63248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883FDD-2842-4E49-87E1-009417EEDE74}">
      <dsp:nvSpPr>
        <dsp:cNvPr id="0" name=""/>
        <dsp:cNvSpPr/>
      </dsp:nvSpPr>
      <dsp:spPr>
        <a:xfrm>
          <a:off x="1328227" y="2268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Identifying and tracking key federal funding opportunities </a:t>
          </a:r>
          <a:r>
            <a:rPr lang="en-US" sz="1600" b="1" kern="1200"/>
            <a:t>and Massachusetts applications through the State Clearinghouse</a:t>
          </a:r>
          <a:endParaRPr lang="en-US" sz="1600" kern="1200"/>
        </a:p>
      </dsp:txBody>
      <dsp:txXfrm>
        <a:off x="1328227" y="2268"/>
        <a:ext cx="5914790" cy="1149980"/>
      </dsp:txXfrm>
    </dsp:sp>
    <dsp:sp modelId="{B8DB16D8-4226-454D-9A09-BB040DD2E36C}">
      <dsp:nvSpPr>
        <dsp:cNvPr id="0" name=""/>
        <dsp:cNvSpPr/>
      </dsp:nvSpPr>
      <dsp:spPr>
        <a:xfrm>
          <a:off x="0" y="1439744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4C5C8F-9437-4747-BE47-8A248FCF0411}">
      <dsp:nvSpPr>
        <dsp:cNvPr id="0" name=""/>
        <dsp:cNvSpPr/>
      </dsp:nvSpPr>
      <dsp:spPr>
        <a:xfrm>
          <a:off x="347869" y="1698490"/>
          <a:ext cx="632489" cy="63248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CCC648-1946-4024-BC72-12F157BF1C01}">
      <dsp:nvSpPr>
        <dsp:cNvPr id="0" name=""/>
        <dsp:cNvSpPr/>
      </dsp:nvSpPr>
      <dsp:spPr>
        <a:xfrm>
          <a:off x="1328227" y="1439744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i="0" kern="1200"/>
            <a:t>Leading bi-weekly meetings of the interagency Advisory Council on Federal Funds and Infrastructure</a:t>
          </a:r>
          <a:endParaRPr lang="en-US" sz="1600" b="1" kern="1200"/>
        </a:p>
      </dsp:txBody>
      <dsp:txXfrm>
        <a:off x="1328227" y="1439744"/>
        <a:ext cx="5914790" cy="1149980"/>
      </dsp:txXfrm>
    </dsp:sp>
    <dsp:sp modelId="{2424DD3C-D8C4-4E3B-93BA-991BC7EAB6F2}">
      <dsp:nvSpPr>
        <dsp:cNvPr id="0" name=""/>
        <dsp:cNvSpPr/>
      </dsp:nvSpPr>
      <dsp:spPr>
        <a:xfrm>
          <a:off x="0" y="2877220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FEB0C4-30B7-4493-ACBB-424B6B9D5B6B}">
      <dsp:nvSpPr>
        <dsp:cNvPr id="0" name=""/>
        <dsp:cNvSpPr/>
      </dsp:nvSpPr>
      <dsp:spPr>
        <a:xfrm>
          <a:off x="347869" y="3135965"/>
          <a:ext cx="632489" cy="63248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99E753-F35B-4A24-8E1C-78892999158A}">
      <dsp:nvSpPr>
        <dsp:cNvPr id="0" name=""/>
        <dsp:cNvSpPr/>
      </dsp:nvSpPr>
      <dsp:spPr>
        <a:xfrm>
          <a:off x="1328227" y="2877220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Leading the Massachusetts Federal Funds Partnership and other meetings to support local governments in their applications for federal funding</a:t>
          </a:r>
        </a:p>
      </dsp:txBody>
      <dsp:txXfrm>
        <a:off x="1328227" y="2877220"/>
        <a:ext cx="5914790" cy="1149980"/>
      </dsp:txXfrm>
    </dsp:sp>
    <dsp:sp modelId="{58117011-8D5D-4747-80CD-8D2788FAFE28}">
      <dsp:nvSpPr>
        <dsp:cNvPr id="0" name=""/>
        <dsp:cNvSpPr/>
      </dsp:nvSpPr>
      <dsp:spPr>
        <a:xfrm>
          <a:off x="0" y="4314695"/>
          <a:ext cx="7243018" cy="1149980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7B136C-B410-4D35-8B00-A9E44608E48D}">
      <dsp:nvSpPr>
        <dsp:cNvPr id="0" name=""/>
        <dsp:cNvSpPr/>
      </dsp:nvSpPr>
      <dsp:spPr>
        <a:xfrm>
          <a:off x="347869" y="4573441"/>
          <a:ext cx="632489" cy="63248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C0067D-B60D-46D0-8AC8-C58B64D277FA}">
      <dsp:nvSpPr>
        <dsp:cNvPr id="0" name=""/>
        <dsp:cNvSpPr/>
      </dsp:nvSpPr>
      <dsp:spPr>
        <a:xfrm>
          <a:off x="1328227" y="4314695"/>
          <a:ext cx="5914790" cy="11499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706" tIns="121706" rIns="121706" bIns="12170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Implementing the Federal Match legislation (</a:t>
          </a:r>
          <a:r>
            <a:rPr lang="en-US" sz="1600" b="1" i="1" kern="1200"/>
            <a:t>Chapter 214 of the Acts of 2024)</a:t>
          </a:r>
          <a:endParaRPr lang="en-US" sz="1600" b="1" kern="1200"/>
        </a:p>
      </dsp:txBody>
      <dsp:txXfrm>
        <a:off x="1328227" y="4314695"/>
        <a:ext cx="5914790" cy="11499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7011D2-A5AF-4794-BD43-A7FCA5BAE9A9}">
      <dsp:nvSpPr>
        <dsp:cNvPr id="0" name=""/>
        <dsp:cNvSpPr/>
      </dsp:nvSpPr>
      <dsp:spPr>
        <a:xfrm>
          <a:off x="2459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Low-income Communities</a:t>
          </a:r>
        </a:p>
      </dsp:txBody>
      <dsp:txXfrm>
        <a:off x="2459" y="0"/>
        <a:ext cx="2413556" cy="1391811"/>
      </dsp:txXfrm>
    </dsp:sp>
    <dsp:sp modelId="{D60B30AA-8DA9-4EC1-A504-63461038DD05}">
      <dsp:nvSpPr>
        <dsp:cNvPr id="0" name=""/>
        <dsp:cNvSpPr/>
      </dsp:nvSpPr>
      <dsp:spPr>
        <a:xfrm>
          <a:off x="243815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-20% bonus</a:t>
          </a:r>
        </a:p>
      </dsp:txBody>
      <dsp:txXfrm>
        <a:off x="270510" y="1418903"/>
        <a:ext cx="1877455" cy="858060"/>
      </dsp:txXfrm>
    </dsp:sp>
    <dsp:sp modelId="{0E2737C2-F58F-4E12-81B0-5C364DC5D99F}">
      <dsp:nvSpPr>
        <dsp:cNvPr id="0" name=""/>
        <dsp:cNvSpPr/>
      </dsp:nvSpPr>
      <dsp:spPr>
        <a:xfrm>
          <a:off x="243815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 if project is in a low-income community with extra bonus if residential or econ benefit project</a:t>
          </a:r>
        </a:p>
      </dsp:txBody>
      <dsp:txXfrm>
        <a:off x="270510" y="2470577"/>
        <a:ext cx="1877455" cy="858060"/>
      </dsp:txXfrm>
    </dsp:sp>
    <dsp:sp modelId="{D984233B-EA55-4177-AE48-52FFF4092240}">
      <dsp:nvSpPr>
        <dsp:cNvPr id="0" name=""/>
        <dsp:cNvSpPr/>
      </dsp:nvSpPr>
      <dsp:spPr>
        <a:xfrm>
          <a:off x="243815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ITC only </a:t>
          </a:r>
        </a:p>
      </dsp:txBody>
      <dsp:txXfrm>
        <a:off x="270510" y="3522251"/>
        <a:ext cx="1877455" cy="858060"/>
      </dsp:txXfrm>
    </dsp:sp>
    <dsp:sp modelId="{1095A64F-8AE9-4193-81AE-C1EF826663D0}">
      <dsp:nvSpPr>
        <dsp:cNvPr id="0" name=""/>
        <dsp:cNvSpPr/>
      </dsp:nvSpPr>
      <dsp:spPr>
        <a:xfrm>
          <a:off x="2597033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Energy Communities</a:t>
          </a:r>
        </a:p>
      </dsp:txBody>
      <dsp:txXfrm>
        <a:off x="2597033" y="0"/>
        <a:ext cx="2413556" cy="1391811"/>
      </dsp:txXfrm>
    </dsp:sp>
    <dsp:sp modelId="{BEFB6ABF-F2E5-440F-8E1F-E01E0A414B2C}">
      <dsp:nvSpPr>
        <dsp:cNvPr id="0" name=""/>
        <dsp:cNvSpPr/>
      </dsp:nvSpPr>
      <dsp:spPr>
        <a:xfrm>
          <a:off x="2838388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2865083" y="1418903"/>
        <a:ext cx="1877455" cy="858060"/>
      </dsp:txXfrm>
    </dsp:sp>
    <dsp:sp modelId="{FF4B2263-CDDA-405F-8CFB-87F487FFF744}">
      <dsp:nvSpPr>
        <dsp:cNvPr id="0" name=""/>
        <dsp:cNvSpPr/>
      </dsp:nvSpPr>
      <dsp:spPr>
        <a:xfrm>
          <a:off x="2838388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project is in historical “energy community” (i.e., closed coal mine, some brownfield sites)</a:t>
          </a:r>
        </a:p>
      </dsp:txBody>
      <dsp:txXfrm>
        <a:off x="2865083" y="2470577"/>
        <a:ext cx="1877455" cy="858060"/>
      </dsp:txXfrm>
    </dsp:sp>
    <dsp:sp modelId="{E23E4B55-80CC-4507-A6DA-A3EE92F71D2B}">
      <dsp:nvSpPr>
        <dsp:cNvPr id="0" name=""/>
        <dsp:cNvSpPr/>
      </dsp:nvSpPr>
      <dsp:spPr>
        <a:xfrm>
          <a:off x="2838388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2865083" y="3522251"/>
        <a:ext cx="1877455" cy="858060"/>
      </dsp:txXfrm>
    </dsp:sp>
    <dsp:sp modelId="{CA438F45-983A-4572-94FF-A2A8EFD54C3B}">
      <dsp:nvSpPr>
        <dsp:cNvPr id="0" name=""/>
        <dsp:cNvSpPr/>
      </dsp:nvSpPr>
      <dsp:spPr>
        <a:xfrm>
          <a:off x="5191606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Prevailing Wage and Apprenticeship**</a:t>
          </a:r>
        </a:p>
      </dsp:txBody>
      <dsp:txXfrm>
        <a:off x="5191606" y="0"/>
        <a:ext cx="2413556" cy="1391811"/>
      </dsp:txXfrm>
    </dsp:sp>
    <dsp:sp modelId="{6FA3D22E-DCC4-42D2-B66E-F0FED99AFA68}">
      <dsp:nvSpPr>
        <dsp:cNvPr id="0" name=""/>
        <dsp:cNvSpPr/>
      </dsp:nvSpPr>
      <dsp:spPr>
        <a:xfrm>
          <a:off x="5432962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5x bonus</a:t>
          </a:r>
        </a:p>
      </dsp:txBody>
      <dsp:txXfrm>
        <a:off x="5459657" y="1418903"/>
        <a:ext cx="1877455" cy="858060"/>
      </dsp:txXfrm>
    </dsp:sp>
    <dsp:sp modelId="{268D3A7A-F93C-4C57-AF69-B433BE269048}">
      <dsp:nvSpPr>
        <dsp:cNvPr id="0" name=""/>
        <dsp:cNvSpPr/>
      </dsp:nvSpPr>
      <dsp:spPr>
        <a:xfrm>
          <a:off x="5432962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</a:t>
          </a:r>
          <a:r>
            <a:rPr lang="en-US" sz="1200" kern="1200" err="1"/>
            <a:t>reqs</a:t>
          </a:r>
          <a:r>
            <a:rPr lang="en-US" sz="1200" kern="1200"/>
            <a:t> for prevailing wages and registered apprentices are met</a:t>
          </a:r>
        </a:p>
      </dsp:txBody>
      <dsp:txXfrm>
        <a:off x="5459657" y="2470577"/>
        <a:ext cx="1877455" cy="858060"/>
      </dsp:txXfrm>
    </dsp:sp>
    <dsp:sp modelId="{426FAD5B-1944-40CE-8BE6-D33BE0ED480A}">
      <dsp:nvSpPr>
        <dsp:cNvPr id="0" name=""/>
        <dsp:cNvSpPr/>
      </dsp:nvSpPr>
      <dsp:spPr>
        <a:xfrm>
          <a:off x="5432962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</a:t>
          </a:r>
        </a:p>
      </dsp:txBody>
      <dsp:txXfrm>
        <a:off x="5459657" y="3522251"/>
        <a:ext cx="1877455" cy="858060"/>
      </dsp:txXfrm>
    </dsp:sp>
    <dsp:sp modelId="{F592FFF9-DBA5-41D3-8C7C-EAE434B0ECE5}">
      <dsp:nvSpPr>
        <dsp:cNvPr id="0" name=""/>
        <dsp:cNvSpPr/>
      </dsp:nvSpPr>
      <dsp:spPr>
        <a:xfrm>
          <a:off x="7786180" y="0"/>
          <a:ext cx="2413556" cy="4639372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Domestic Content* **</a:t>
          </a:r>
        </a:p>
      </dsp:txBody>
      <dsp:txXfrm>
        <a:off x="7786180" y="0"/>
        <a:ext cx="2413556" cy="1391811"/>
      </dsp:txXfrm>
    </dsp:sp>
    <dsp:sp modelId="{8EC8B0CB-96DB-4B40-B6E6-EB83F0414DE9}">
      <dsp:nvSpPr>
        <dsp:cNvPr id="0" name=""/>
        <dsp:cNvSpPr/>
      </dsp:nvSpPr>
      <dsp:spPr>
        <a:xfrm>
          <a:off x="8027536" y="1392208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5720" rIns="6096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/>
            <a:t>10% bonus</a:t>
          </a:r>
        </a:p>
      </dsp:txBody>
      <dsp:txXfrm>
        <a:off x="8054231" y="1418903"/>
        <a:ext cx="1877455" cy="858060"/>
      </dsp:txXfrm>
    </dsp:sp>
    <dsp:sp modelId="{DB57D0CC-B6A0-4098-9243-E7B618F0F2F1}">
      <dsp:nvSpPr>
        <dsp:cNvPr id="0" name=""/>
        <dsp:cNvSpPr/>
      </dsp:nvSpPr>
      <dsp:spPr>
        <a:xfrm>
          <a:off x="8027536" y="2443882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…if 100% of applicable steel and iron and an applicable share of ‘manufactured products” produced in U.S.</a:t>
          </a:r>
        </a:p>
      </dsp:txBody>
      <dsp:txXfrm>
        <a:off x="8054231" y="2470577"/>
        <a:ext cx="1877455" cy="858060"/>
      </dsp:txXfrm>
    </dsp:sp>
    <dsp:sp modelId="{A781167B-64A6-4277-88AD-D6A8881C8FA9}">
      <dsp:nvSpPr>
        <dsp:cNvPr id="0" name=""/>
        <dsp:cNvSpPr/>
      </dsp:nvSpPr>
      <dsp:spPr>
        <a:xfrm>
          <a:off x="8027536" y="3495556"/>
          <a:ext cx="1930845" cy="91145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pplies to both ITC tax basis and PTC rate </a:t>
          </a:r>
        </a:p>
      </dsp:txBody>
      <dsp:txXfrm>
        <a:off x="8054231" y="3522251"/>
        <a:ext cx="1877455" cy="8580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EE87EE-A783-4865-80CA-021A774017DF}">
      <dsp:nvSpPr>
        <dsp:cNvPr id="0" name=""/>
        <dsp:cNvSpPr/>
      </dsp:nvSpPr>
      <dsp:spPr>
        <a:xfrm>
          <a:off x="3005" y="633400"/>
          <a:ext cx="2918232" cy="343321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2376E9-B7ED-463B-9FC0-D4EE34EBF2A5}">
      <dsp:nvSpPr>
        <dsp:cNvPr id="0" name=""/>
        <dsp:cNvSpPr/>
      </dsp:nvSpPr>
      <dsp:spPr>
        <a:xfrm>
          <a:off x="148917" y="770729"/>
          <a:ext cx="2626409" cy="223158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315177-FB0D-4AF5-BD02-1C2ED00FEF8A}">
      <dsp:nvSpPr>
        <dsp:cNvPr id="0" name=""/>
        <dsp:cNvSpPr/>
      </dsp:nvSpPr>
      <dsp:spPr>
        <a:xfrm>
          <a:off x="148917" y="3345667"/>
          <a:ext cx="2626409" cy="583619"/>
        </a:xfrm>
        <a:prstGeom prst="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Fall River Heritage State Park </a:t>
          </a:r>
        </a:p>
      </dsp:txBody>
      <dsp:txXfrm>
        <a:off x="148917" y="3345667"/>
        <a:ext cx="2626409" cy="583619"/>
      </dsp:txXfrm>
    </dsp:sp>
    <dsp:sp modelId="{ED287025-EAB5-4F59-B9FE-4CC7BD00E793}">
      <dsp:nvSpPr>
        <dsp:cNvPr id="0" name=""/>
        <dsp:cNvSpPr/>
      </dsp:nvSpPr>
      <dsp:spPr>
        <a:xfrm>
          <a:off x="148917" y="3002318"/>
          <a:ext cx="2626409" cy="3433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ec 30C: Alternative Fuel Property  </a:t>
          </a:r>
        </a:p>
      </dsp:txBody>
      <dsp:txXfrm>
        <a:off x="148917" y="3002318"/>
        <a:ext cx="2626409" cy="343348"/>
      </dsp:txXfrm>
    </dsp:sp>
    <dsp:sp modelId="{B0658C3A-92C8-4444-91E0-DFE77AD82E20}">
      <dsp:nvSpPr>
        <dsp:cNvPr id="0" name=""/>
        <dsp:cNvSpPr/>
      </dsp:nvSpPr>
      <dsp:spPr>
        <a:xfrm>
          <a:off x="3670667" y="633400"/>
          <a:ext cx="2918232" cy="343321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5918AA-5E1F-4CA7-8CB2-C42EC9363352}">
      <dsp:nvSpPr>
        <dsp:cNvPr id="0" name=""/>
        <dsp:cNvSpPr/>
      </dsp:nvSpPr>
      <dsp:spPr>
        <a:xfrm>
          <a:off x="3798299" y="777022"/>
          <a:ext cx="2626409" cy="2231589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5BEF2F-8C5E-4A2E-A267-5AAABAB9F23C}">
      <dsp:nvSpPr>
        <dsp:cNvPr id="0" name=""/>
        <dsp:cNvSpPr/>
      </dsp:nvSpPr>
      <dsp:spPr>
        <a:xfrm>
          <a:off x="3816579" y="3345667"/>
          <a:ext cx="2626409" cy="583619"/>
        </a:xfrm>
        <a:prstGeom prst="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Dozens of light EVs purchased by OSD</a:t>
          </a:r>
        </a:p>
      </dsp:txBody>
      <dsp:txXfrm>
        <a:off x="3816579" y="3345667"/>
        <a:ext cx="2626409" cy="583619"/>
      </dsp:txXfrm>
    </dsp:sp>
    <dsp:sp modelId="{01116C48-85A4-463A-9D81-C517FDC516DD}">
      <dsp:nvSpPr>
        <dsp:cNvPr id="0" name=""/>
        <dsp:cNvSpPr/>
      </dsp:nvSpPr>
      <dsp:spPr>
        <a:xfrm>
          <a:off x="3816579" y="3002318"/>
          <a:ext cx="2626409" cy="3433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ec. 45W: Commercial EVs </a:t>
          </a:r>
        </a:p>
      </dsp:txBody>
      <dsp:txXfrm>
        <a:off x="3816579" y="3002318"/>
        <a:ext cx="2626409" cy="343348"/>
      </dsp:txXfrm>
    </dsp:sp>
    <dsp:sp modelId="{0A5DE108-7E88-49C6-9480-B5EA625CCD07}">
      <dsp:nvSpPr>
        <dsp:cNvPr id="0" name=""/>
        <dsp:cNvSpPr/>
      </dsp:nvSpPr>
      <dsp:spPr>
        <a:xfrm>
          <a:off x="7338329" y="633400"/>
          <a:ext cx="2918232" cy="343321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6A7D90-4EB0-48DF-9AAE-1B80AB6249FA}">
      <dsp:nvSpPr>
        <dsp:cNvPr id="0" name=""/>
        <dsp:cNvSpPr/>
      </dsp:nvSpPr>
      <dsp:spPr>
        <a:xfrm>
          <a:off x="7484241" y="770729"/>
          <a:ext cx="2626409" cy="223158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4724A3-457F-4340-9008-014770E048E6}">
      <dsp:nvSpPr>
        <dsp:cNvPr id="0" name=""/>
        <dsp:cNvSpPr/>
      </dsp:nvSpPr>
      <dsp:spPr>
        <a:xfrm>
          <a:off x="7484241" y="3345667"/>
          <a:ext cx="2626409" cy="583619"/>
        </a:xfrm>
        <a:prstGeom prst="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Solar and Geothermal Projects at the Veterans’ Home in Chelsea</a:t>
          </a:r>
        </a:p>
      </dsp:txBody>
      <dsp:txXfrm>
        <a:off x="7484241" y="3345667"/>
        <a:ext cx="2626409" cy="583619"/>
      </dsp:txXfrm>
    </dsp:sp>
    <dsp:sp modelId="{ACCF9169-BAA3-4050-A906-62B79BCE86DC}">
      <dsp:nvSpPr>
        <dsp:cNvPr id="0" name=""/>
        <dsp:cNvSpPr/>
      </dsp:nvSpPr>
      <dsp:spPr>
        <a:xfrm>
          <a:off x="7484241" y="3002318"/>
          <a:ext cx="2626409" cy="34334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Sec. 45: Investment Tax Credit </a:t>
          </a:r>
        </a:p>
      </dsp:txBody>
      <dsp:txXfrm>
        <a:off x="7484241" y="3002318"/>
        <a:ext cx="2626409" cy="34334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F7073A-23D2-4F77-A936-D14C50EBDE8F}">
      <dsp:nvSpPr>
        <dsp:cNvPr id="0" name=""/>
        <dsp:cNvSpPr/>
      </dsp:nvSpPr>
      <dsp:spPr>
        <a:xfrm>
          <a:off x="1221978" y="2645"/>
          <a:ext cx="2706687" cy="162401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>
              <a:solidFill>
                <a:srgbClr val="FFC000"/>
              </a:solidFill>
            </a:rPr>
            <a:t>$342 million </a:t>
          </a:r>
          <a:r>
            <a:rPr lang="en-US" sz="1600" b="0" kern="1200"/>
            <a:t>in Massachusetts Awards for </a:t>
          </a:r>
          <a:r>
            <a:rPr lang="en-US" sz="1600" b="1" kern="1200"/>
            <a:t>Reconnecting Communities </a:t>
          </a:r>
          <a:r>
            <a:rPr lang="en-US" sz="1600" b="0" kern="1200"/>
            <a:t>including </a:t>
          </a:r>
          <a:r>
            <a:rPr lang="en-US" sz="1600" b="1" kern="1200"/>
            <a:t>$335M for the Allston Multimodal Project</a:t>
          </a:r>
        </a:p>
      </dsp:txBody>
      <dsp:txXfrm>
        <a:off x="1221978" y="2645"/>
        <a:ext cx="2706687" cy="1624012"/>
      </dsp:txXfrm>
    </dsp:sp>
    <dsp:sp modelId="{0EC5D9F7-11DB-4C29-AA78-DAC42A11228A}">
      <dsp:nvSpPr>
        <dsp:cNvPr id="0" name=""/>
        <dsp:cNvSpPr/>
      </dsp:nvSpPr>
      <dsp:spPr>
        <a:xfrm>
          <a:off x="4199334" y="2645"/>
          <a:ext cx="2706687" cy="1624012"/>
        </a:xfrm>
        <a:prstGeom prst="rect">
          <a:avLst/>
        </a:prstGeom>
        <a:solidFill>
          <a:schemeClr val="accent6">
            <a:lumMod val="7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1CADE4"/>
            </a:buClr>
            <a:buSzTx/>
            <a:buFont typeface="Wingdings 3" pitchFamily="18" charset="2"/>
            <a:buNone/>
          </a:pPr>
          <a:r>
            <a:rPr kumimoji="0" lang="en-US" sz="2000" b="1" i="0" u="none" strike="noStrike" kern="1200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+mn-cs"/>
            </a:rPr>
            <a:t>$156 </a:t>
          </a:r>
          <a:r>
            <a:rPr lang="en-US" sz="2000" b="1" kern="1200">
              <a:solidFill>
                <a:srgbClr val="FFC000"/>
              </a:solidFill>
            </a:rPr>
            <a:t>million</a:t>
          </a:r>
          <a:r>
            <a:rPr kumimoji="0" lang="en-US" sz="2000" b="1" i="0" u="none" strike="noStrike" kern="1200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+mn-cs"/>
            </a:rPr>
            <a:t> </a:t>
          </a:r>
          <a:r>
            <a:rPr kumimoji="0" lang="en-US" sz="1600" b="1" i="0" u="none" strike="noStrike" kern="1200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+mn-cs"/>
            </a:rPr>
            <a:t>award through Solar for All Program </a:t>
          </a:r>
          <a:r>
            <a:rPr kumimoji="0" lang="en-US" sz="1600" b="0" i="0" u="none" strike="noStrike" kern="1200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+mn-cs"/>
            </a:rPr>
            <a:t>for clean energy investments </a:t>
          </a:r>
          <a:r>
            <a:rPr kumimoji="0" lang="en-US" sz="1600" b="0" i="0" u="none" strike="noStrike" kern="1200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to up to 31,000 low-income and affordable homes </a:t>
          </a:r>
          <a:r>
            <a:rPr kumimoji="0" lang="en-US" sz="1600" b="0" i="0" u="none" strike="noStrike" kern="1200" cap="none" spc="0" normalizeH="0" baseline="0" noProof="0">
              <a:ln/>
              <a:effectLst/>
              <a:uLnTx/>
              <a:uFillTx/>
              <a:latin typeface="Tw Cen MT" panose="020B0602020104020603"/>
              <a:ea typeface="Cambria"/>
              <a:cs typeface="+mn-cs"/>
            </a:rPr>
            <a:t> </a:t>
          </a:r>
          <a:endParaRPr lang="en-US" sz="1600" b="0" kern="1200"/>
        </a:p>
      </dsp:txBody>
      <dsp:txXfrm>
        <a:off x="4199334" y="2645"/>
        <a:ext cx="2706687" cy="1624012"/>
      </dsp:txXfrm>
    </dsp:sp>
    <dsp:sp modelId="{E778FC93-0A0C-4F46-9B18-5F1652F97717}">
      <dsp:nvSpPr>
        <dsp:cNvPr id="0" name=""/>
        <dsp:cNvSpPr/>
      </dsp:nvSpPr>
      <dsp:spPr>
        <a:xfrm>
          <a:off x="1221978" y="1897327"/>
          <a:ext cx="2706687" cy="162401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1CADE4"/>
            </a:buClr>
            <a:buSzTx/>
            <a:buFont typeface="Wingdings 3" pitchFamily="18" charset="2"/>
            <a:buNone/>
          </a:pPr>
          <a:r>
            <a:rPr kumimoji="0" lang="en-US" sz="2000" b="1" i="0" u="none" strike="noStrike" kern="1200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$993 </a:t>
          </a:r>
          <a:r>
            <a:rPr lang="en-US" sz="2000" b="1" kern="1200">
              <a:solidFill>
                <a:srgbClr val="FFC000"/>
              </a:solidFill>
            </a:rPr>
            <a:t>million</a:t>
          </a:r>
          <a:r>
            <a:rPr kumimoji="0" lang="en-US" sz="2000" b="1" i="0" u="none" strike="noStrike" kern="1200" cap="none" spc="0" normalizeH="0" baseline="0" noProof="0">
              <a:ln/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 </a:t>
          </a:r>
          <a:r>
            <a:rPr kumimoji="0" lang="en-US" sz="1600" b="1" i="0" u="none" strike="noStrike" kern="1200" cap="none" spc="0" normalizeH="0" baseline="0" noProof="0">
              <a:ln/>
              <a:effectLst/>
              <a:uLnTx/>
              <a:uFillTx/>
              <a:latin typeface="Tw Cen MT" panose="020B0602020104020603"/>
              <a:ea typeface="+mn-ea"/>
              <a:cs typeface="+mn-cs"/>
            </a:rPr>
            <a:t>award for the Cape Cod Bridges </a:t>
          </a:r>
          <a:r>
            <a:rPr kumimoji="0" lang="en-US" sz="1600" b="0" i="0" u="none" strike="noStrike" kern="1200" cap="none" spc="0" normalizeH="0" baseline="0" noProof="0">
              <a:ln/>
              <a:effectLst/>
              <a:uLnTx/>
              <a:uFillTx/>
              <a:latin typeface="Tw Cen MT" panose="020B0602020104020603"/>
              <a:ea typeface="+mn-ea"/>
              <a:cs typeface="+mn-cs"/>
            </a:rPr>
            <a:t>from the Bridge Investment Program</a:t>
          </a:r>
          <a:endParaRPr lang="en-US" sz="1600" b="0" kern="1200"/>
        </a:p>
      </dsp:txBody>
      <dsp:txXfrm>
        <a:off x="1221978" y="1897327"/>
        <a:ext cx="2706687" cy="1624012"/>
      </dsp:txXfrm>
    </dsp:sp>
    <dsp:sp modelId="{F2B326B2-BBEC-4C81-B7D0-B18C9843FF1C}">
      <dsp:nvSpPr>
        <dsp:cNvPr id="0" name=""/>
        <dsp:cNvSpPr/>
      </dsp:nvSpPr>
      <dsp:spPr>
        <a:xfrm>
          <a:off x="4199334" y="1897327"/>
          <a:ext cx="2706687" cy="162401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prstClr val="black"/>
            </a:buClr>
            <a:buSzTx/>
            <a:buFontTx/>
            <a:buNone/>
          </a:pPr>
          <a:r>
            <a: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$105 </a:t>
          </a:r>
          <a:r>
            <a:rPr lang="en-US" sz="2000" b="1" kern="1200">
              <a:solidFill>
                <a:srgbClr val="FFC000"/>
              </a:solidFill>
            </a:rPr>
            <a:t>million </a:t>
          </a:r>
          <a:r>
            <a:rPr lang="en-US" sz="1600" b="1" kern="1200"/>
            <a:t>to</a:t>
          </a:r>
          <a:r>
            <a: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 Massachusetts entities from the </a:t>
          </a:r>
          <a:r>
            <a: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Environmental Protection Agency’s Clean School Bus Program </a:t>
          </a:r>
          <a:r>
            <a: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libri" panose="020F0502020204030204" pitchFamily="34" charset="0"/>
              <a:cs typeface="Times New Roman" panose="02020603050405020304" pitchFamily="18" charset="0"/>
            </a:rPr>
            <a:t>for low and zero emission school buses</a:t>
          </a:r>
          <a:endParaRPr lang="en-US" sz="1600" b="0" kern="1200">
            <a:solidFill>
              <a:schemeClr val="bg1"/>
            </a:solidFill>
          </a:endParaRPr>
        </a:p>
      </dsp:txBody>
      <dsp:txXfrm>
        <a:off x="4199334" y="1897327"/>
        <a:ext cx="2706687" cy="1624012"/>
      </dsp:txXfrm>
    </dsp:sp>
    <dsp:sp modelId="{162B735B-6E45-48AD-8D87-503CD33E057C}">
      <dsp:nvSpPr>
        <dsp:cNvPr id="0" name=""/>
        <dsp:cNvSpPr/>
      </dsp:nvSpPr>
      <dsp:spPr>
        <a:xfrm>
          <a:off x="1221978" y="3792008"/>
          <a:ext cx="2706687" cy="1624012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$147 </a:t>
          </a:r>
          <a:r>
            <a:rPr lang="en-US" sz="2000" b="1" kern="1200">
              <a:solidFill>
                <a:srgbClr val="FFC000"/>
              </a:solidFill>
            </a:rPr>
            <a:t>million</a:t>
          </a:r>
          <a:r>
            <a: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 </a:t>
          </a:r>
          <a:r>
            <a: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from the </a:t>
          </a:r>
          <a:r>
            <a: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National Telecommunications and Information Agency’s Broadband, Equity, Access, and Deployment program</a:t>
          </a:r>
          <a:r>
            <a: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Cambria"/>
              <a:cs typeface="Times New Roman"/>
            </a:rPr>
            <a:t> to expand high speed internet access</a:t>
          </a:r>
          <a:endParaRPr lang="en-US" sz="1600" b="0" kern="1200">
            <a:solidFill>
              <a:schemeClr val="bg1"/>
            </a:solidFill>
          </a:endParaRPr>
        </a:p>
      </dsp:txBody>
      <dsp:txXfrm>
        <a:off x="1221978" y="3792008"/>
        <a:ext cx="2706687" cy="1624012"/>
      </dsp:txXfrm>
    </dsp:sp>
    <dsp:sp modelId="{1AA48CC6-B6E3-4B9B-A672-204EDD3DA78B}">
      <dsp:nvSpPr>
        <dsp:cNvPr id="0" name=""/>
        <dsp:cNvSpPr/>
      </dsp:nvSpPr>
      <dsp:spPr>
        <a:xfrm>
          <a:off x="4199334" y="3792008"/>
          <a:ext cx="2706687" cy="162401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rgbClr val="1CADE4"/>
            </a:buClr>
            <a:buSzTx/>
            <a:buFont typeface="Wingdings 3" pitchFamily="18" charset="2"/>
            <a:buNone/>
          </a:pPr>
          <a:r>
            <a: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$472 Million </a:t>
          </a:r>
          <a:r>
            <a: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for North Station Draw Bridge </a:t>
          </a:r>
          <a:r>
            <a: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as part of the </a:t>
          </a:r>
          <a:r>
            <a: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rPr>
            <a:t>Multimodal Project Discretionary Grant Program </a:t>
          </a:r>
          <a:endParaRPr lang="en-US" sz="1600" b="0" kern="1200">
            <a:solidFill>
              <a:schemeClr val="bg1"/>
            </a:solidFill>
          </a:endParaRPr>
        </a:p>
      </dsp:txBody>
      <dsp:txXfrm>
        <a:off x="4199334" y="3792008"/>
        <a:ext cx="2706687" cy="162401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24FDBF-6CCC-47F3-BFEE-FAFC35AFC15A}">
      <dsp:nvSpPr>
        <dsp:cNvPr id="0" name=""/>
        <dsp:cNvSpPr/>
      </dsp:nvSpPr>
      <dsp:spPr>
        <a:xfrm>
          <a:off x="0" y="263629"/>
          <a:ext cx="6440932" cy="11513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Match grants to projects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Help look for partners/co-applicants (CBOs, other states, state agencies, universities, etc.)</a:t>
          </a:r>
        </a:p>
      </dsp:txBody>
      <dsp:txXfrm>
        <a:off x="0" y="263629"/>
        <a:ext cx="6440932" cy="1151325"/>
      </dsp:txXfrm>
    </dsp:sp>
    <dsp:sp modelId="{49D41C6C-F171-47D2-88B7-4DB4A378454E}">
      <dsp:nvSpPr>
        <dsp:cNvPr id="0" name=""/>
        <dsp:cNvSpPr/>
      </dsp:nvSpPr>
      <dsp:spPr>
        <a:xfrm>
          <a:off x="322046" y="1270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Looking for grants</a:t>
          </a:r>
        </a:p>
      </dsp:txBody>
      <dsp:txXfrm>
        <a:off x="346544" y="37207"/>
        <a:ext cx="4459656" cy="452844"/>
      </dsp:txXfrm>
    </dsp:sp>
    <dsp:sp modelId="{AC360656-5180-4A8C-B968-F5E1DF01588C}">
      <dsp:nvSpPr>
        <dsp:cNvPr id="0" name=""/>
        <dsp:cNvSpPr/>
      </dsp:nvSpPr>
      <dsp:spPr>
        <a:xfrm>
          <a:off x="0" y="1757674"/>
          <a:ext cx="6440932" cy="9371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Advice on labor standards, DEI , climate, language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Review application</a:t>
          </a:r>
        </a:p>
      </dsp:txBody>
      <dsp:txXfrm>
        <a:off x="0" y="1757674"/>
        <a:ext cx="6440932" cy="937125"/>
      </dsp:txXfrm>
    </dsp:sp>
    <dsp:sp modelId="{D2F30F6F-C273-415D-913B-76942B2A84A9}">
      <dsp:nvSpPr>
        <dsp:cNvPr id="0" name=""/>
        <dsp:cNvSpPr/>
      </dsp:nvSpPr>
      <dsp:spPr>
        <a:xfrm>
          <a:off x="322046" y="1506754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eveloping application</a:t>
          </a:r>
        </a:p>
      </dsp:txBody>
      <dsp:txXfrm>
        <a:off x="346544" y="1531252"/>
        <a:ext cx="4459656" cy="452844"/>
      </dsp:txXfrm>
    </dsp:sp>
    <dsp:sp modelId="{329BB4AB-C9F0-4629-8902-58BF17357DBE}">
      <dsp:nvSpPr>
        <dsp:cNvPr id="0" name=""/>
        <dsp:cNvSpPr/>
      </dsp:nvSpPr>
      <dsp:spPr>
        <a:xfrm>
          <a:off x="0" y="3037519"/>
          <a:ext cx="6440932" cy="12048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9888" tIns="354076" rIns="499888" bIns="120904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Letters of support from the state or </a:t>
          </a:r>
          <a:r>
            <a:rPr lang="en-US" sz="1700" kern="1200" err="1"/>
            <a:t>congressionals</a:t>
          </a:r>
          <a:endParaRPr lang="en-US" sz="1700" kern="120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Calls and in-person advocacy when FFIO is in DC.</a:t>
          </a: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/>
            <a:t>Get award dates/application status</a:t>
          </a:r>
        </a:p>
      </dsp:txBody>
      <dsp:txXfrm>
        <a:off x="0" y="3037519"/>
        <a:ext cx="6440932" cy="1204875"/>
      </dsp:txXfrm>
    </dsp:sp>
    <dsp:sp modelId="{12DE117D-80F9-462C-9C3C-AF04E8707F03}">
      <dsp:nvSpPr>
        <dsp:cNvPr id="0" name=""/>
        <dsp:cNvSpPr/>
      </dsp:nvSpPr>
      <dsp:spPr>
        <a:xfrm>
          <a:off x="322046" y="2786599"/>
          <a:ext cx="4508652" cy="5018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416" tIns="0" rIns="170416" bIns="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dvocating for submitted applications</a:t>
          </a:r>
        </a:p>
      </dsp:txBody>
      <dsp:txXfrm>
        <a:off x="346544" y="2811097"/>
        <a:ext cx="4459656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CaptionedPictures">
  <dgm:title val=""/>
  <dgm:desc val=""/>
  <dgm:catLst>
    <dgm:cat type="picture" pri="5000"/>
    <dgm:cat type="pictureconvert" pri="5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  <dgm:pt modelId="40">
          <dgm:prSet phldr="1"/>
        </dgm:pt>
        <dgm:pt modelId="4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  <dgm:cxn modelId="90" srcId="0" destId="40" srcOrd="3" destOrd="0"/>
        <dgm:cxn modelId="42" srcId="40" destId="4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grDir" val="tR"/>
          <dgm:param type="off" val="ct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" op="equ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varLst>
          <dgm:chMax val="1"/>
          <dgm:chPref val="1"/>
        </dgm:varLst>
        <dgm:alg type="composite">
          <dgm:param type="ar" val="0.85"/>
        </dgm:alg>
        <dgm:shape xmlns:r="http://schemas.openxmlformats.org/officeDocument/2006/relationships" r:blip="">
          <dgm:adjLst/>
        </dgm:shape>
        <dgm:constrLst>
          <dgm:constr type="l" for="ch" forName="Accent" refType="w" fact="0"/>
          <dgm:constr type="t" for="ch" forName="Accent" refType="h" fact="0"/>
          <dgm:constr type="w" for="ch" forName="Accent" refType="w"/>
          <dgm:constr type="h" for="ch" forName="Accent" refType="h"/>
          <dgm:constr type="l" for="ch" forName="Image" refType="w" fact="0.05"/>
          <dgm:constr type="t" for="ch" forName="Image" refType="h" fact="0.04"/>
          <dgm:constr type="w" for="ch" forName="Image" refType="w" fact="0.9"/>
          <dgm:constr type="h" for="ch" forName="Image" refType="h" fact="0.65"/>
          <dgm:constr type="l" for="ch" forName="ChildComposite" refType="w" fact="0.05"/>
          <dgm:constr type="t" for="ch" forName="ChildComposite" refType="h" fact="0.69"/>
          <dgm:constr type="w" for="ch" forName="ChildComposite" refType="w" fact="0.9"/>
          <dgm:constr type="h" for="ch" forName="ChildComposite" refType="h" fact="0.27"/>
        </dgm:constrLst>
        <dgm:layoutNode name="Accent" styleLbl="trAlignAcc1">
          <dgm:varLst>
            <dgm:chMax val="0"/>
            <dgm:chPref val="0"/>
          </dgm:varLst>
          <dgm:alg type="sp"/>
          <dgm:shape xmlns:r="http://schemas.openxmlformats.org/officeDocument/2006/relationships" type="rect" r:blip="">
            <dgm:adjLst/>
          </dgm:shape>
          <dgm:presOf/>
        </dgm:layoutNode>
        <dgm:layoutNode name="Image" styleLbl="alignImgPlace1">
          <dgm:varLst>
            <dgm:chMax val="0"/>
            <dgm:chPref val="0"/>
          </dgm:varLst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ChildComposite">
          <dgm:alg type="composite"/>
          <dgm:shape xmlns:r="http://schemas.openxmlformats.org/officeDocument/2006/relationships" r:blip="">
            <dgm:adjLst/>
          </dgm:shape>
          <dgm:choose name="Name4">
            <dgm:if name="Name5" axis="ch" ptType="node" func="cnt" op="gte" val="1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 fact="0.3704"/>
                <dgm:constr type="l" for="ch" forName="Child" refType="w" fact="0"/>
                <dgm:constr type="t" for="ch" forName="Child" refType="h" fact="0.3704"/>
                <dgm:constr type="w" for="ch" forName="Child" refType="w"/>
                <dgm:constr type="h" for="ch" forName="Child" refType="h" fact="0.6296"/>
              </dgm:constrLst>
            </dgm:if>
            <dgm:else name="Name6">
              <dgm:constrLst>
                <dgm:constr type="l" for="ch" forName="Parent" refType="w" fact="0"/>
                <dgm:constr type="t" for="ch" forName="Parent" refType="h" fact="0"/>
                <dgm:constr type="w" for="ch" forName="Parent" refType="w"/>
                <dgm:constr type="h" for="ch" forName="Parent" refType="h"/>
                <dgm:constr type="l" for="ch" forName="Child" refType="w" fact="0"/>
                <dgm:constr type="t" for="ch" forName="Child" refType="h" fact="0"/>
                <dgm:constr type="w" for="ch" forName="Child" refType="w" fact="0"/>
                <dgm:constr type="h" for="ch" forName="Child" refType="h" fact="0"/>
              </dgm:constrLst>
            </dgm:else>
          </dgm:choose>
          <dgm:layoutNode name="Child" styleLbl="node1">
            <dgm:varLst>
              <dgm:chMax val="0"/>
              <dgm:chPref val="0"/>
              <dgm:bulletEnabled val="1"/>
            </dgm:varLst>
            <dgm:choose name="Name7">
              <dgm:if name="Name8" axis="ch" ptType="node" func="cnt" op="gt" val="1">
                <dgm:alg type="tx">
                  <dgm:param type="parTxLTRAlign" val="l"/>
                  <dgm:param type="parTxRTLAlign" val="r"/>
                  <dgm:param type="txAnchorVert" val="mid"/>
                  <dgm:param type="txAnchorVertCh" val="mid"/>
                </dgm:alg>
              </dgm:if>
              <dgm:else name="Name9">
                <dgm:alg type="tx">
                  <dgm:param type="parTxLTRAlign" val="ctr"/>
                  <dgm:param type="parTxRTLAlign" val="ctr"/>
                  <dgm:param type="shpTxLTRAlignCh" val="l"/>
                  <dgm:param type="shpTxRTLAlignCh" val="r"/>
                  <dgm:param type="txAnchorVert" val="mid"/>
                  <dgm:param type="txAnchorVertCh" val="mid"/>
                </dgm:alg>
              </dgm:else>
            </dgm:choose>
            <dgm:choose name="Name10">
              <dgm:if name="Name11" axis="ch" ptType="node" func="cnt" op="gte" val="1">
                <dgm:shape xmlns:r="http://schemas.openxmlformats.org/officeDocument/2006/relationships" type="rect" r:blip="">
                  <dgm:adjLst/>
                </dgm:shape>
              </dgm:if>
              <dgm:else name="Name12">
                <dgm:shape xmlns:r="http://schemas.openxmlformats.org/officeDocument/2006/relationships" type="rect" r:blip="" hideGeom="1">
                  <dgm:adjLst/>
                </dgm:shape>
              </dgm:else>
            </dgm:choose>
            <dgm:choose name="Name13">
              <dgm:if name="Name14" axis="ch" ptType="node" func="cnt" op="gte" val="1">
                <dgm:presOf axis="des" ptType="node"/>
              </dgm:if>
              <dgm:else name="Name15">
                <dgm:presOf/>
              </dgm:else>
            </dgm:choose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Parent" styleLbl="revTx">
            <dgm:varLst>
              <dgm:chMax val="1"/>
              <dgm:chPref val="0"/>
              <dgm:bulletEnabled val="1"/>
            </dgm:varLst>
            <dgm:alg type="tx">
              <dgm:param type="shpTxLTRAlignCh" val="ctr"/>
              <dgm:param type="txAnchorVert" val="mid"/>
            </dgm:alg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352</cdr:x>
      <cdr:y>0.1911</cdr:y>
    </cdr:from>
    <cdr:to>
      <cdr:x>0.90163</cdr:x>
      <cdr:y>0.4116</cdr:y>
    </cdr:to>
    <cdr:sp macro="" textlink="">
      <cdr:nvSpPr>
        <cdr:cNvPr id="2" name="Right Brace 1">
          <a:extLst xmlns:a="http://schemas.openxmlformats.org/drawingml/2006/main">
            <a:ext uri="{FF2B5EF4-FFF2-40B4-BE49-F238E27FC236}">
              <a16:creationId xmlns:a16="http://schemas.microsoft.com/office/drawing/2014/main" id="{83E17B8D-7332-F5DB-816C-D14F935F967F}"/>
            </a:ext>
          </a:extLst>
        </cdr:cNvPr>
        <cdr:cNvSpPr/>
      </cdr:nvSpPr>
      <cdr:spPr>
        <a:xfrm xmlns:a="http://schemas.openxmlformats.org/drawingml/2006/main">
          <a:off x="6001458" y="970149"/>
          <a:ext cx="338254" cy="1119331"/>
        </a:xfrm>
        <a:prstGeom xmlns:a="http://schemas.openxmlformats.org/drawingml/2006/main" prst="rightBrace">
          <a:avLst/>
        </a:prstGeom>
        <a:ln xmlns:a="http://schemas.openxmlformats.org/drawingml/2006/main" w="571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1"/>
            <a:ext cx="3043343" cy="467072"/>
          </a:xfrm>
          <a:prstGeom prst="rect">
            <a:avLst/>
          </a:prstGeom>
        </p:spPr>
        <p:txBody>
          <a:bodyPr vert="horz" lIns="93313" tIns="46657" rIns="93313" bIns="46657" rtlCol="0"/>
          <a:lstStyle>
            <a:lvl1pPr algn="r">
              <a:defRPr sz="1200"/>
            </a:lvl1pPr>
          </a:lstStyle>
          <a:p>
            <a:fld id="{AE58DB52-B048-4E1E-9349-B75ADA701E25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3" tIns="46657" rIns="93313" bIns="466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13" tIns="46657" rIns="93313" bIns="466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7070"/>
          </a:xfrm>
          <a:prstGeom prst="rect">
            <a:avLst/>
          </a:prstGeom>
        </p:spPr>
        <p:txBody>
          <a:bodyPr vert="horz" lIns="93313" tIns="46657" rIns="93313" bIns="46657" rtlCol="0" anchor="b"/>
          <a:lstStyle>
            <a:lvl1pPr algn="r">
              <a:defRPr sz="1200"/>
            </a:lvl1pPr>
          </a:lstStyle>
          <a:p>
            <a:fld id="{FEE6CF9F-4738-4A07-BBF7-C2ACB526C4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581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377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7149A5-8D8B-4454-B21B-519D820E4A9C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656868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AF56AD-D948-23DA-3AAB-BA30A731D1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1983B8-8BEF-BF5A-F0BC-B1A4BA22BB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70B0FD7-D190-5857-FB9D-08987C6DDB2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1A7A77-98FA-7BB9-BA6F-8E2560FD72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4152205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‹#›</a:t>
            </a:r>
          </a:p>
        </p:txBody>
      </p:sp>
    </p:spTree>
    <p:extLst>
      <p:ext uri="{BB962C8B-B14F-4D97-AF65-F5344CB8AC3E}">
        <p14:creationId xmlns:p14="http://schemas.microsoft.com/office/powerpoint/2010/main" val="3179048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0401F-DAA4-4253-0D27-89D996E0F4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53D8D6-FCDF-3021-4128-0020A54E36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3613B3-D654-D5E8-8BD5-A6DFAC1DE6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08EAF0-06CF-C13B-6120-D35779DE5C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0390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7697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E6CF9F-4738-4A07-BBF7-C2ACB526C4B4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159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2217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28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3050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827398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76B510-6426-A0DB-BB39-F6D31489D5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9C8B8DC-14F2-A8E3-377D-73930CD6DC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6344B4-958B-1294-6AC2-0C0BC1D0E5C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F3539A-1ADF-20C2-EC35-9B15AE2FFD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77842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3C0976-8603-7CD0-1D45-36886D8E55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E7A2650-A11C-1727-37C0-576229ADD0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E9E745-B5FA-A51B-A9D2-C439641D0D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A50599-7DB4-AAA5-4E33-16E3E917F8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CF9F-4738-4A07-BBF7-C2ACB526C4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79636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946671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24F182-57FA-EBC0-856E-18A527A7DA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0ACD36-7746-867D-E57D-4A5105B258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86388A6-04C5-DA4A-70A9-287BD2279A8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FDE323-34FD-34FC-EAF2-0306FBC77F8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0C2C59-2378-4B0C-9397-BF9D0BCEF8DF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43406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sv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5.xml"/><Relationship Id="rId10" Type="http://schemas.openxmlformats.org/officeDocument/2006/relationships/image" Target="../media/image9.png"/><Relationship Id="rId4" Type="http://schemas.openxmlformats.org/officeDocument/2006/relationships/tags" Target="../tags/tag24.xml"/><Relationship Id="rId9" Type="http://schemas.openxmlformats.org/officeDocument/2006/relationships/image" Target="../media/image11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9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emf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9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2.xml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5209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720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75050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4642CC5-5D0C-E946-8D44-D39A283A93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0552815-1B48-3746-99FF-24B327FA9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80" y="1749547"/>
            <a:ext cx="3591200" cy="3308177"/>
          </a:xfrm>
          <a:prstGeom prst="rect">
            <a:avLst/>
          </a:prstGeom>
        </p:spPr>
        <p:txBody>
          <a:bodyPr/>
          <a:lstStyle>
            <a:lvl1pPr marL="201865" marR="0" indent="-201865" algn="l" defTabSz="538307" rtl="0" eaLnBrk="1" fontAlgn="auto" latinLnBrk="0" hangingPunct="1">
              <a:lnSpc>
                <a:spcPct val="15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48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Font typeface="Wingdings" pitchFamily="2" charset="2"/>
              <a:buNone/>
              <a:defRPr/>
            </a:lvl2pPr>
          </a:lstStyle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6362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90A64BE-6891-C54A-92DF-1F75297120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80" y="1108944"/>
            <a:ext cx="6970416" cy="49780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9F2263E-3DFB-3244-AD04-A8F7831C5F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6165" y="1108944"/>
            <a:ext cx="3591199" cy="89221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F014512D-62AD-A84A-9ACF-7820D64422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36165" y="2124031"/>
            <a:ext cx="3591200" cy="3962935"/>
          </a:xfrm>
          <a:prstGeom prst="rect">
            <a:avLst/>
          </a:prstGeom>
        </p:spPr>
        <p:txBody>
          <a:bodyPr/>
          <a:lstStyle>
            <a:lvl1pPr marL="0" marR="0" indent="0" algn="l" defTabSz="538307" rtl="0" eaLnBrk="1" fontAlgn="auto" latinLnBrk="0" hangingPunct="1">
              <a:lnSpc>
                <a:spcPct val="12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sentence.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4657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CB03D66-1D85-D343-82B5-58BC44409E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8680" y="1108944"/>
            <a:ext cx="10988283" cy="4683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Long project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97021B8-28F3-DC41-B173-6534308ED5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8679" y="1749547"/>
            <a:ext cx="10988283" cy="4252371"/>
          </a:xfrm>
          <a:prstGeom prst="rect">
            <a:avLst/>
          </a:prstGeom>
        </p:spPr>
        <p:txBody>
          <a:bodyPr/>
          <a:lstStyle>
            <a:lvl1pPr marL="269154" marR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531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marL="269154" marR="0" lvl="0" indent="-269154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project description or information goes here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8023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59603B7-AE04-A546-B2B4-B3A80EEAB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187292F-AEC1-5C44-B1BF-EB77DD3B84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43899" y="678753"/>
            <a:ext cx="7548101" cy="620509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B58B07E-D60D-504F-A269-962A0AFC68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79" y="1749547"/>
            <a:ext cx="3591200" cy="4446885"/>
          </a:xfrm>
          <a:prstGeom prst="rect">
            <a:avLst/>
          </a:prstGeom>
        </p:spPr>
        <p:txBody>
          <a:bodyPr/>
          <a:lstStyle>
            <a:lvl1pPr marL="0" marR="0" indent="0" algn="l" defTabSz="538307" rtl="0" eaLnBrk="1" fontAlgn="auto" latinLnBrk="0" hangingPunct="1">
              <a:lnSpc>
                <a:spcPct val="12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sentence.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9419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9">
            <a:extLst>
              <a:ext uri="{FF2B5EF4-FFF2-40B4-BE49-F238E27FC236}">
                <a16:creationId xmlns:a16="http://schemas.microsoft.com/office/drawing/2014/main" id="{777261AF-ED3A-A149-A25F-6DFE0BB023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43899" y="1108944"/>
            <a:ext cx="6970416" cy="49780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4642CC5-5D0C-E946-8D44-D39A283A93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0552815-1B48-3746-99FF-24B327FA9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79" y="1749546"/>
            <a:ext cx="3591200" cy="4337420"/>
          </a:xfrm>
          <a:prstGeom prst="rect">
            <a:avLst/>
          </a:prstGeom>
        </p:spPr>
        <p:txBody>
          <a:bodyPr/>
          <a:lstStyle>
            <a:lvl1pPr marL="0" marR="0" indent="0" algn="l" defTabSz="538307" rtl="0" eaLnBrk="1" fontAlgn="auto" latinLnBrk="0" hangingPunct="1">
              <a:lnSpc>
                <a:spcPct val="12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oject description sentence.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0481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9">
            <a:extLst>
              <a:ext uri="{FF2B5EF4-FFF2-40B4-BE49-F238E27FC236}">
                <a16:creationId xmlns:a16="http://schemas.microsoft.com/office/drawing/2014/main" id="{777261AF-ED3A-A149-A25F-6DFE0BB023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43899" y="1108944"/>
            <a:ext cx="6970416" cy="49780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4642CC5-5D0C-E946-8D44-D39A283A93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9308" y="1108944"/>
            <a:ext cx="3591200" cy="4709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oject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0552815-1B48-3746-99FF-24B327FA9F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8680" y="1749546"/>
            <a:ext cx="3591200" cy="4337420"/>
          </a:xfrm>
          <a:prstGeom prst="rect">
            <a:avLst/>
          </a:prstGeom>
        </p:spPr>
        <p:txBody>
          <a:bodyPr/>
          <a:lstStyle>
            <a:lvl1pPr marL="201865" marR="0" indent="-201865" algn="l" defTabSz="538307" rtl="0" eaLnBrk="1" fontAlgn="auto" latinLnBrk="0" hangingPunct="1">
              <a:lnSpc>
                <a:spcPct val="15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13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lvl="0"/>
            <a:r>
              <a:rPr lang="en-US"/>
              <a:t>Bullet point</a:t>
            </a:r>
          </a:p>
          <a:p>
            <a:pPr marL="0" marR="0" lvl="0" indent="0" algn="l" defTabSz="538307" rtl="0" eaLnBrk="1" fontAlgn="auto" latinLnBrk="0" hangingPunct="1">
              <a:lnSpc>
                <a:spcPct val="90000"/>
              </a:lnSpc>
              <a:spcBef>
                <a:spcPts val="589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149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DEF61BF8-F6EF-EB4F-9A3B-B6D078AEFAA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80" y="1389731"/>
            <a:ext cx="11019872" cy="46944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41226B7E-FDFF-C348-BCF9-0522F219BF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841" y="895025"/>
            <a:ext cx="1641789" cy="4709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97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5" name="Text Placeholder 16">
            <a:extLst>
              <a:ext uri="{FF2B5EF4-FFF2-40B4-BE49-F238E27FC236}">
                <a16:creationId xmlns:a16="http://schemas.microsoft.com/office/drawing/2014/main" id="{703A7A2E-06C9-884F-A22D-C2605D8BC8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25420" y="923315"/>
            <a:ext cx="3811558" cy="471032"/>
          </a:xfrm>
          <a:prstGeom prst="rect">
            <a:avLst/>
          </a:prstGeom>
        </p:spPr>
        <p:txBody>
          <a:bodyPr anchor="ctr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</p:spTree>
    <p:extLst>
      <p:ext uri="{BB962C8B-B14F-4D97-AF65-F5344CB8AC3E}">
        <p14:creationId xmlns:p14="http://schemas.microsoft.com/office/powerpoint/2010/main" val="31353433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411CD4B3-05B1-4E46-902B-F244DCFE1F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33159" y="1381992"/>
            <a:ext cx="5491481" cy="46992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27517A9-9D8C-2945-B70E-D5EAE91F46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80" y="1381992"/>
            <a:ext cx="5365468" cy="46992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46F3B54C-653C-2E49-92CE-492661978B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841" y="895025"/>
            <a:ext cx="1641789" cy="4709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97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15" name="Text Placeholder 16">
            <a:extLst>
              <a:ext uri="{FF2B5EF4-FFF2-40B4-BE49-F238E27FC236}">
                <a16:creationId xmlns:a16="http://schemas.microsoft.com/office/drawing/2014/main" id="{F2A6F80F-814F-804E-B142-CB350AC07A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707010" y="923315"/>
            <a:ext cx="3811558" cy="471032"/>
          </a:xfrm>
          <a:prstGeom prst="rect">
            <a:avLst/>
          </a:prstGeom>
        </p:spPr>
        <p:txBody>
          <a:bodyPr anchor="ctr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20" name="Text Placeholder 16">
            <a:extLst>
              <a:ext uri="{FF2B5EF4-FFF2-40B4-BE49-F238E27FC236}">
                <a16:creationId xmlns:a16="http://schemas.microsoft.com/office/drawing/2014/main" id="{E5B6DC1C-3D4E-AE48-96C7-E7393A35A3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57394" y="893953"/>
            <a:ext cx="1642763" cy="471032"/>
          </a:xfrm>
          <a:prstGeom prst="rect">
            <a:avLst/>
          </a:prstGeom>
        </p:spPr>
        <p:txBody>
          <a:bodyPr anchor="ctr"/>
          <a:lstStyle>
            <a:lvl1pPr algn="l">
              <a:defRPr sz="1978" b="1" i="0">
                <a:solidFill>
                  <a:srgbClr val="00669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9" name="Text Placeholder 16">
            <a:extLst>
              <a:ext uri="{FF2B5EF4-FFF2-40B4-BE49-F238E27FC236}">
                <a16:creationId xmlns:a16="http://schemas.microsoft.com/office/drawing/2014/main" id="{ADD1B79E-82CB-6142-BF4C-92C59E3E381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25420" y="923315"/>
            <a:ext cx="3811558" cy="471032"/>
          </a:xfrm>
          <a:prstGeom prst="rect">
            <a:avLst/>
          </a:prstGeom>
        </p:spPr>
        <p:txBody>
          <a:bodyPr anchor="ctr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</p:spTree>
    <p:extLst>
      <p:ext uri="{BB962C8B-B14F-4D97-AF65-F5344CB8AC3E}">
        <p14:creationId xmlns:p14="http://schemas.microsoft.com/office/powerpoint/2010/main" val="1086952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7435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-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38318CA5-F036-1740-8DD8-ED9C3DFD53A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8679" y="1561110"/>
            <a:ext cx="3591200" cy="4520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Picture Placeholder 9">
            <a:extLst>
              <a:ext uri="{FF2B5EF4-FFF2-40B4-BE49-F238E27FC236}">
                <a16:creationId xmlns:a16="http://schemas.microsoft.com/office/drawing/2014/main" id="{2DBF2C88-5D4B-F64E-9E27-34DEEF75E7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9421" y="1561110"/>
            <a:ext cx="3591200" cy="4520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E711066-CC93-FF4C-B74C-507890B47B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60163" y="1561110"/>
            <a:ext cx="3593157" cy="45201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A3D89DB-8673-E44E-A912-9CE541B44F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2177" y="870221"/>
            <a:ext cx="3573243" cy="2635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sz="1978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mage title</a:t>
            </a:r>
          </a:p>
        </p:txBody>
      </p:sp>
      <p:sp>
        <p:nvSpPr>
          <p:cNvPr id="12" name="Text Placeholder 16">
            <a:extLst>
              <a:ext uri="{FF2B5EF4-FFF2-40B4-BE49-F238E27FC236}">
                <a16:creationId xmlns:a16="http://schemas.microsoft.com/office/drawing/2014/main" id="{257DEC1D-2C3B-7D48-AF1C-DD80C0D052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842" y="1219902"/>
            <a:ext cx="3573243" cy="263538"/>
          </a:xfrm>
          <a:prstGeom prst="rect">
            <a:avLst/>
          </a:prstGeom>
        </p:spPr>
        <p:txBody>
          <a:bodyPr anchor="t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16" name="Text Placeholder 16">
            <a:extLst>
              <a:ext uri="{FF2B5EF4-FFF2-40B4-BE49-F238E27FC236}">
                <a16:creationId xmlns:a16="http://schemas.microsoft.com/office/drawing/2014/main" id="{6BA28B96-8EA5-3D46-B851-ED598D0EE8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2918" y="1221301"/>
            <a:ext cx="3573243" cy="263538"/>
          </a:xfrm>
          <a:prstGeom prst="rect">
            <a:avLst/>
          </a:prstGeom>
        </p:spPr>
        <p:txBody>
          <a:bodyPr anchor="t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5DDCD85-434A-8646-A08F-B1535E746B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2918" y="870221"/>
            <a:ext cx="3573243" cy="274809"/>
          </a:xfrm>
          <a:prstGeom prst="rect">
            <a:avLst/>
          </a:prstGeom>
        </p:spPr>
        <p:txBody>
          <a:bodyPr anchor="t"/>
          <a:lstStyle>
            <a:lvl1pPr algn="l">
              <a:defRPr sz="1978" b="1" i="0">
                <a:solidFill>
                  <a:srgbClr val="00669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mage title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B7D1639D-9E75-D645-A2B3-A2146AD9B4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87009" y="1221301"/>
            <a:ext cx="3573243" cy="263538"/>
          </a:xfrm>
          <a:prstGeom prst="rect">
            <a:avLst/>
          </a:prstGeom>
        </p:spPr>
        <p:txBody>
          <a:bodyPr anchor="t"/>
          <a:lstStyle>
            <a:lvl1pPr algn="l">
              <a:defRPr sz="1295">
                <a:solidFill>
                  <a:srgbClr val="635B5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Subtitle or description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728B1D7F-03AF-4B43-8DE0-8ABC9FABB5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87009" y="870221"/>
            <a:ext cx="3573243" cy="274809"/>
          </a:xfrm>
          <a:prstGeom prst="rect">
            <a:avLst/>
          </a:prstGeom>
        </p:spPr>
        <p:txBody>
          <a:bodyPr anchor="t"/>
          <a:lstStyle>
            <a:lvl1pPr algn="l">
              <a:defRPr sz="1978" b="1" i="0">
                <a:solidFill>
                  <a:srgbClr val="00669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Image title</a:t>
            </a:r>
          </a:p>
        </p:txBody>
      </p:sp>
    </p:spTree>
    <p:extLst>
      <p:ext uri="{BB962C8B-B14F-4D97-AF65-F5344CB8AC3E}">
        <p14:creationId xmlns:p14="http://schemas.microsoft.com/office/powerpoint/2010/main" val="8199201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97660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1076334"/>
            <a:ext cx="11582400" cy="704841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1781174"/>
            <a:ext cx="11582400" cy="4391019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59CB27-8F96-BAF1-DBE4-ABDCBB9069E1}"/>
              </a:ext>
            </a:extLst>
          </p:cNvPr>
          <p:cNvCxnSpPr>
            <a:cxnSpLocks/>
          </p:cNvCxnSpPr>
          <p:nvPr userDrawn="1"/>
        </p:nvCxnSpPr>
        <p:spPr>
          <a:xfrm>
            <a:off x="373379" y="859536"/>
            <a:ext cx="114452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183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57" y="77578"/>
            <a:ext cx="11582400" cy="535531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3357" y="913275"/>
            <a:ext cx="11582400" cy="4376737"/>
          </a:xfrm>
        </p:spPr>
        <p:txBody>
          <a:bodyPr/>
          <a:lstStyle>
            <a:lvl1pPr marL="194310" indent="-192024">
              <a:buClrTx/>
              <a:buSzPct val="9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-192024">
              <a:buClrTx/>
              <a:buSzPct val="90000"/>
              <a:buFont typeface="Tw Cen MT" panose="020B0602020104020603" pitchFamily="34" charset="0"/>
              <a:buChar char="–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76072" indent="-137160">
              <a:buClrTx/>
              <a:buSzPct val="90000"/>
              <a:buFont typeface="Courier New" panose="02070309020205020404" pitchFamily="49" charset="0"/>
              <a:buChar char="o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3232" indent="-128016">
              <a:buClrTx/>
              <a:buSzPct val="60000"/>
              <a:buFont typeface="Arial" panose="020B0604020202020204" pitchFamily="34" charset="0"/>
              <a:buChar char="•"/>
              <a:defRPr/>
            </a:lvl4pPr>
            <a:lvl5pPr marL="850392" indent="-128016">
              <a:buClrTx/>
              <a:buSzPct val="6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BBAAB4F-AB4A-79B3-49FE-5A23274DB86E}"/>
              </a:ext>
            </a:extLst>
          </p:cNvPr>
          <p:cNvCxnSpPr>
            <a:cxnSpLocks/>
          </p:cNvCxnSpPr>
          <p:nvPr userDrawn="1"/>
        </p:nvCxnSpPr>
        <p:spPr>
          <a:xfrm>
            <a:off x="304800" y="618031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9036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57" y="77578"/>
            <a:ext cx="11582400" cy="535531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3357" y="913275"/>
            <a:ext cx="11582400" cy="4376737"/>
          </a:xfrm>
        </p:spPr>
        <p:txBody>
          <a:bodyPr/>
          <a:lstStyle>
            <a:lvl1pPr marL="194310" indent="-192024">
              <a:buClrTx/>
              <a:buSzPct val="9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-192024">
              <a:buClrTx/>
              <a:buSzPct val="90000"/>
              <a:buFont typeface="Tw Cen MT" panose="020B0602020104020603" pitchFamily="34" charset="0"/>
              <a:buChar char="–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76072" indent="-137160">
              <a:buClrTx/>
              <a:buSzPct val="90000"/>
              <a:buFont typeface="Courier New" panose="02070309020205020404" pitchFamily="49" charset="0"/>
              <a:buChar char="o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3232" indent="-128016">
              <a:buClrTx/>
              <a:buSzPct val="60000"/>
              <a:buFont typeface="Arial" panose="020B0604020202020204" pitchFamily="34" charset="0"/>
              <a:buChar char="•"/>
              <a:defRPr/>
            </a:lvl4pPr>
            <a:lvl5pPr marL="850392" indent="-128016">
              <a:buClrTx/>
              <a:buSzPct val="6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49175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57" y="77578"/>
            <a:ext cx="11582400" cy="535531"/>
          </a:xfrm>
        </p:spPr>
        <p:txBody>
          <a:bodyPr>
            <a:sp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3357" y="913275"/>
            <a:ext cx="11582400" cy="4376737"/>
          </a:xfrm>
        </p:spPr>
        <p:txBody>
          <a:bodyPr/>
          <a:lstStyle>
            <a:lvl1pPr marL="194310" indent="-192024">
              <a:buClrTx/>
              <a:buSzPct val="90000"/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11480" indent="-192024">
              <a:buClrTx/>
              <a:buSzPct val="90000"/>
              <a:buFont typeface="Tw Cen MT" panose="020B0602020104020603" pitchFamily="34" charset="0"/>
              <a:buChar char="–"/>
              <a:defRPr sz="21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576072" indent="-137160">
              <a:buClrTx/>
              <a:buSzPct val="90000"/>
              <a:buFont typeface="Courier New" panose="02070309020205020404" pitchFamily="49" charset="0"/>
              <a:buChar char="o"/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713232" indent="-128016">
              <a:buClrTx/>
              <a:buSzPct val="60000"/>
              <a:buFont typeface="Arial" panose="020B0604020202020204" pitchFamily="34" charset="0"/>
              <a:buChar char="•"/>
              <a:defRPr/>
            </a:lvl4pPr>
            <a:lvl5pPr marL="850392" indent="-128016">
              <a:buClrTx/>
              <a:buSzPct val="6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BBAAB4F-AB4A-79B3-49FE-5A23274DB86E}"/>
              </a:ext>
            </a:extLst>
          </p:cNvPr>
          <p:cNvCxnSpPr>
            <a:cxnSpLocks/>
          </p:cNvCxnSpPr>
          <p:nvPr userDrawn="1"/>
        </p:nvCxnSpPr>
        <p:spPr>
          <a:xfrm>
            <a:off x="304800" y="618031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25364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1" y="1395413"/>
            <a:ext cx="4887620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43620B2-DDEF-F9EE-66E5-CF35130E44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4801" y="1395413"/>
            <a:ext cx="5019674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E192D4FA-8B74-D9BB-3721-EB254BA70D2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2476500"/>
            <a:ext cx="5019674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CB519CBB-4227-7F16-2835-4C3DEA36D06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096000" y="2476500"/>
            <a:ext cx="4887620" cy="3581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D096F7E-79D9-5A90-9CFC-21B61FD61545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79406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heads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1395413"/>
            <a:ext cx="5019674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1" y="1395413"/>
            <a:ext cx="4887620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2476500"/>
            <a:ext cx="5019674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096000" y="2476500"/>
            <a:ext cx="4887620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C59B38-1987-7596-DE9A-A99DD8138D59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80149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1395413"/>
            <a:ext cx="5019674" cy="4376737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096000" y="1395413"/>
            <a:ext cx="4887620" cy="4376737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75628F-442E-86E8-4A21-5F1B87199E67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5975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0" y="0"/>
            <a:ext cx="5791200" cy="137115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396242"/>
            <a:ext cx="5791199" cy="603404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1999646"/>
            <a:ext cx="5791200" cy="410433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381749" y="353974"/>
            <a:ext cx="5505449" cy="5932526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C59B38-1987-7596-DE9A-A99DD8138D59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800" y="1371150"/>
            <a:ext cx="5791200" cy="11074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0571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92FE15-AE06-C6D8-888A-9BB13880221C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12363B3-A549-E43E-6BA7-60EE949B04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2476500"/>
            <a:ext cx="6705600" cy="36385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1634017"/>
            <a:ext cx="6705599" cy="842483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7BEF228-23CD-7B43-F583-FC3F830CD0FF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620000" y="-2"/>
            <a:ext cx="4572000" cy="6431967"/>
          </a:xfrm>
          <a:blipFill>
            <a:blip r:embed="rId2"/>
            <a:stretch>
              <a:fillRect b="-7251"/>
            </a:stretch>
          </a:blipFill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4416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00079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92FE15-AE06-C6D8-888A-9BB13880221C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52AB217-DD31-1045-3BCC-79D45F3AE0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799" y="2482482"/>
            <a:ext cx="6705600" cy="3632567"/>
          </a:xfrm>
        </p:spPr>
        <p:txBody>
          <a:bodyPr/>
          <a:lstStyle>
            <a:lvl1pPr marL="182880" indent="-182880">
              <a:buClr>
                <a:srgbClr val="FF6000"/>
              </a:buClr>
              <a:buSzPct val="60000"/>
              <a:buFont typeface="Zapf Dingbats"/>
              <a:buChar char="➤"/>
              <a:defRPr/>
            </a:lvl1pPr>
            <a:lvl2pPr marL="365760" indent="-182880">
              <a:buClr>
                <a:srgbClr val="FF6000"/>
              </a:buClr>
              <a:buSzPct val="60000"/>
              <a:buFont typeface="Zapf Dingbats"/>
              <a:buChar char="➤"/>
              <a:defRPr/>
            </a:lvl2pPr>
            <a:lvl3pPr marL="548640" indent="-164592">
              <a:buClr>
                <a:srgbClr val="FF6000"/>
              </a:buClr>
              <a:buSzPct val="60000"/>
              <a:buFont typeface="Zapf Dingbats"/>
              <a:buChar char="➤"/>
              <a:defRPr/>
            </a:lvl3pPr>
            <a:lvl4pPr marL="731520" indent="-146304">
              <a:buClr>
                <a:srgbClr val="FF6000"/>
              </a:buClr>
              <a:buSzPct val="60000"/>
              <a:buFont typeface="Zapf Dingbats"/>
              <a:buChar char="➤"/>
              <a:defRPr/>
            </a:lvl4pPr>
            <a:lvl5pPr marL="868680" indent="-137160">
              <a:buClr>
                <a:srgbClr val="FF6000"/>
              </a:buClr>
              <a:buSzPct val="60000"/>
              <a:buFont typeface="Zapf Dingbats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4799" y="1640000"/>
            <a:ext cx="6705601" cy="842483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07BEF228-23CD-7B43-F583-FC3F830CD0FF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7620000" y="-2"/>
            <a:ext cx="4572000" cy="6431967"/>
          </a:xfrm>
          <a:blipFill>
            <a:blip r:embed="rId2"/>
            <a:stretch>
              <a:fillRect b="-7251"/>
            </a:stretch>
          </a:blipFill>
        </p:spPr>
        <p:txBody>
          <a:bodyPr/>
          <a:lstStyle>
            <a:lvl1pPr marL="0" indent="0">
              <a:buNone/>
              <a:defRPr sz="3200" baseline="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955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"/>
            <a:ext cx="5791200" cy="99766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44C641A-ACBB-1CE7-CB8C-9E8DFE1284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1395413"/>
            <a:ext cx="5019674" cy="1081087"/>
          </a:xfrm>
        </p:spPr>
        <p:txBody>
          <a:bodyPr bIns="182880" anchor="b" anchorCtr="0">
            <a:normAutofit/>
          </a:bodyPr>
          <a:lstStyle>
            <a:lvl1pPr>
              <a:spcAft>
                <a:spcPts val="0"/>
              </a:spcAft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D0DB819-505A-4F18-B3C4-534EEDD27A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1" y="1395413"/>
            <a:ext cx="4887620" cy="1081087"/>
          </a:xfrm>
        </p:spPr>
        <p:txBody>
          <a:bodyPr bIns="182880" anchor="b" anchorCtr="0">
            <a:normAutofit/>
          </a:bodyPr>
          <a:lstStyle>
            <a:lvl1pPr>
              <a:defRPr sz="1400" b="1" i="0" cap="all" baseline="0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798" y="2476500"/>
            <a:ext cx="5019674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5A9EA98-E34B-E2A6-9C8E-6478F78C91DB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6096000" y="2476500"/>
            <a:ext cx="4887620" cy="3295650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A5182D7-EF63-094F-BA1A-9F9022170493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60945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128719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/>
          <a:lstStyle/>
          <a:p>
            <a:r>
              <a:rPr lang="en-US"/>
              <a:t>MassCEC Board of Directors Mee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292015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20DCA4F9-E07B-34CB-4A8A-C296205AF3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81900" y="4618"/>
            <a:ext cx="4614573" cy="6789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Icon to </a:t>
            </a:r>
            <a:br>
              <a:rPr lang="en-US"/>
            </a:br>
            <a:r>
              <a:rPr lang="en-US"/>
              <a:t>Change </a:t>
            </a:r>
            <a:br>
              <a:rPr lang="en-US"/>
            </a:br>
            <a:r>
              <a:rPr lang="en-US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BEBC6E-4F26-E0CF-6698-2D79CFA4E4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3627" y="2679192"/>
            <a:ext cx="5262373" cy="30358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7786FC-1DCE-E64A-0519-6B0F999E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3438" y="1737360"/>
            <a:ext cx="5262372" cy="914400"/>
          </a:xfrm>
          <a:prstGeom prst="rect">
            <a:avLst/>
          </a:prstGeom>
        </p:spPr>
        <p:txBody>
          <a:bodyPr lIns="18288" tIns="0" rIns="0" bIns="182880" anchor="b" anchorCtr="0"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29CDB37-CE69-2B90-FDE9-2382150F3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/20/2023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B0E249-2550-C753-0757-1444EF20A7E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9815" y="4744684"/>
            <a:ext cx="12201815" cy="2048934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200">
                <a:solidFill>
                  <a:schemeClr val="bg1"/>
                </a:solidFill>
              </a:defRPr>
            </a:lvl1pPr>
            <a:lvl2pPr>
              <a:defRPr sz="200">
                <a:solidFill>
                  <a:schemeClr val="bg1"/>
                </a:solidFill>
              </a:defRPr>
            </a:lvl2pPr>
            <a:lvl3pPr>
              <a:defRPr sz="200">
                <a:solidFill>
                  <a:schemeClr val="bg1"/>
                </a:solidFill>
              </a:defRPr>
            </a:lvl3pPr>
            <a:lvl4pPr>
              <a:defRPr sz="200">
                <a:solidFill>
                  <a:schemeClr val="bg1"/>
                </a:solidFill>
              </a:defRPr>
            </a:lvl4pPr>
            <a:lvl5pPr>
              <a:defRPr sz="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 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902248-49B1-F1E9-E3EB-90D525C5BBA0}"/>
              </a:ext>
            </a:extLst>
          </p:cNvPr>
          <p:cNvSpPr/>
          <p:nvPr userDrawn="1"/>
        </p:nvSpPr>
        <p:spPr>
          <a:xfrm>
            <a:off x="0" y="6800882"/>
            <a:ext cx="12192000" cy="62816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578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vider with Subjec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F2E21-79FE-DF3C-2106-554035463E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858" y="378233"/>
            <a:ext cx="6095059" cy="11954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25D8703-D01F-1B9A-DBD6-2D5FBCBB71F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90544" y="378232"/>
            <a:ext cx="5111599" cy="3983905"/>
          </a:xfrm>
        </p:spPr>
        <p:txBody>
          <a:bodyPr anchor="ctr" anchorCtr="0"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297B285-278C-0916-2DED-42475DAA41C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9857" y="1781175"/>
            <a:ext cx="6095063" cy="2580963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16874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" y="1584718"/>
            <a:ext cx="10972799" cy="465680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980628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fld id="{87DD084B-D6CE-8549-975C-55C9DDBAB6C4}" type="slidenum">
              <a:rPr lang="en-US" smtClean="0"/>
              <a:pPr defTabSz="457200"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360608"/>
            <a:ext cx="10972800" cy="1066884"/>
          </a:xfrm>
        </p:spPr>
        <p:txBody>
          <a:bodyPr>
            <a:normAutofit/>
          </a:bodyPr>
          <a:lstStyle>
            <a:lvl1pPr>
              <a:defRPr sz="4200" b="1"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863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accent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31401330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5790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3833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4064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85853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345014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9522915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39977927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">
    <p:bg>
      <p:bgPr>
        <a:solidFill>
          <a:srgbClr val="1F497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517031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26932-7F95-1C30-101E-156F47BE6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8C8DF0-CB32-1861-4559-0379BECA0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02/29/2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EA8361-BC57-8618-9641-D123AD142E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CE680-F38B-0B75-405E-77090B61B7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B4B2D98-81ED-FF6E-8F54-27837AA8CF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800" y="1395413"/>
            <a:ext cx="11582400" cy="4376737"/>
          </a:xfrm>
        </p:spPr>
        <p:txBody>
          <a:bodyPr/>
          <a:lstStyle>
            <a:lvl1pPr marL="19431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1pPr>
            <a:lvl2pPr marL="411480" indent="-192024">
              <a:buClr>
                <a:srgbClr val="FF6000"/>
              </a:buClr>
              <a:buSzPct val="60000"/>
              <a:buFont typeface="System Font Regular"/>
              <a:buChar char="➤"/>
              <a:defRPr/>
            </a:lvl2pPr>
            <a:lvl3pPr marL="576072" indent="-137160">
              <a:buClr>
                <a:srgbClr val="FF6000"/>
              </a:buClr>
              <a:buSzPct val="60000"/>
              <a:buFont typeface="System Font Regular"/>
              <a:buChar char="➤"/>
              <a:defRPr/>
            </a:lvl3pPr>
            <a:lvl4pPr marL="71323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4pPr>
            <a:lvl5pPr marL="850392" indent="-128016">
              <a:buClr>
                <a:srgbClr val="FF6000"/>
              </a:buClr>
              <a:buSzPct val="60000"/>
              <a:buFont typeface="System Font Regular"/>
              <a:buChar char="➤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BBAAB4F-AB4A-79B3-49FE-5A23274DB86E}"/>
              </a:ext>
            </a:extLst>
          </p:cNvPr>
          <p:cNvCxnSpPr>
            <a:cxnSpLocks/>
          </p:cNvCxnSpPr>
          <p:nvPr userDrawn="1"/>
        </p:nvCxnSpPr>
        <p:spPr>
          <a:xfrm>
            <a:off x="304800" y="1008735"/>
            <a:ext cx="11582400" cy="0"/>
          </a:xfrm>
          <a:prstGeom prst="line">
            <a:avLst/>
          </a:prstGeom>
          <a:ln w="127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58762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760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92000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30469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00400" y="6461828"/>
            <a:ext cx="57912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fidenti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533400"/>
            <a:ext cx="7942686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75337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115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685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58724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585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1567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5" y="1143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675" y="6477000"/>
            <a:ext cx="11115675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/>
        </p:nvSpPr>
        <p:spPr>
          <a:xfrm>
            <a:off x="10801350" y="6553200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685" y="606288"/>
            <a:ext cx="10117513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03961" y="145409"/>
            <a:ext cx="10006533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647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8030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8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7881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1916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6558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62091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7719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4580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02018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1023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606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228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647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lick to edit Master title styl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object 2">
            <a:extLst>
              <a:ext uri="{FF2B5EF4-FFF2-40B4-BE49-F238E27FC236}">
                <a16:creationId xmlns:a16="http://schemas.microsoft.com/office/drawing/2014/main" id="{3178C474-2CA3-1DB5-D6F3-B33FDD9774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6130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lick to edit Master text styles</a:t>
            </a:r>
          </a:p>
          <a:p>
            <a:pPr marL="241300" marR="5080" lvl="1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econd level</a:t>
            </a:r>
          </a:p>
          <a:p>
            <a:pPr marL="241300" marR="5080" lvl="2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ird level</a:t>
            </a:r>
          </a:p>
          <a:p>
            <a:pPr marL="241300" marR="5080" lvl="3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urth level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bg object 18">
            <a:extLst>
              <a:ext uri="{FF2B5EF4-FFF2-40B4-BE49-F238E27FC236}">
                <a16:creationId xmlns:a16="http://schemas.microsoft.com/office/drawing/2014/main" id="{C0C25CA3-2238-AC3C-CC80-142EBA7CB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795505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g object 16">
            <a:extLst>
              <a:ext uri="{FF2B5EF4-FFF2-40B4-BE49-F238E27FC236}">
                <a16:creationId xmlns:a16="http://schemas.microsoft.com/office/drawing/2014/main" id="{2AC8AB4D-6CCA-9C10-4439-1845DC24E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029199" y="228600"/>
            <a:ext cx="6931659" cy="6400800"/>
          </a:xfrm>
          <a:custGeom>
            <a:avLst/>
            <a:gdLst/>
            <a:ahLst/>
            <a:cxnLst/>
            <a:rect l="l" t="t" r="r" b="b"/>
            <a:pathLst>
              <a:path w="6931659" h="6400800">
                <a:moveTo>
                  <a:pt x="6931152" y="0"/>
                </a:moveTo>
                <a:lnTo>
                  <a:pt x="0" y="0"/>
                </a:lnTo>
                <a:lnTo>
                  <a:pt x="0" y="6400800"/>
                </a:lnTo>
                <a:lnTo>
                  <a:pt x="6931152" y="6400800"/>
                </a:lnTo>
                <a:lnTo>
                  <a:pt x="69311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17">
            <a:extLst>
              <a:ext uri="{FF2B5EF4-FFF2-40B4-BE49-F238E27FC236}">
                <a16:creationId xmlns:a16="http://schemas.microsoft.com/office/drawing/2014/main" id="{306F9929-309B-AE0A-0801-DEA2FA8780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9485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18">
            <a:extLst>
              <a:ext uri="{FF2B5EF4-FFF2-40B4-BE49-F238E27FC236}">
                <a16:creationId xmlns:a16="http://schemas.microsoft.com/office/drawing/2014/main" id="{013F3A6A-D126-C795-AE9C-EDBE980AC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13299" y="228600"/>
            <a:ext cx="219710" cy="6400800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DCEC600F-3810-77DA-CB9B-79BE090A57F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4500" y="2787736"/>
            <a:ext cx="2280920" cy="121379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10922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ts val="4300"/>
              </a:lnSpc>
              <a:spcBef>
                <a:spcPts val="8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-70" normalizeH="0" baseline="0" noProof="0">
                <a:ln>
                  <a:noFill/>
                </a:ln>
                <a:solidFill>
                  <a:srgbClr val="005295"/>
                </a:solidFill>
                <a:effectLst/>
                <a:uLnTx/>
                <a:uFillTx/>
                <a:latin typeface="Poppins" pitchFamily="2" charset="77"/>
                <a:cs typeface="Poppins" pitchFamily="2" charset="77"/>
              </a:rPr>
              <a:t>Click to edit Master title style</a:t>
            </a:r>
            <a:endParaRPr kumimoji="0" lang="en-US" sz="3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632570776"/>
      </p:ext>
    </p:extLst>
  </p:cSld>
  <p:clrMapOvr>
    <a:masterClrMapping/>
  </p:clrMapOvr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99370" cy="707886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r>
              <a:rPr lang="en-US" sz="28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28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28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28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2800" i="0" spc="-40">
                <a:latin typeface="Poppins" pitchFamily="2" charset="77"/>
                <a:cs typeface="Poppins" pitchFamily="2" charset="77"/>
              </a:rPr>
            </a:br>
            <a:r>
              <a:rPr lang="en-US" sz="18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t>‹#›</a:t>
            </a:fld>
            <a:endParaRPr lang="en-US"/>
          </a:p>
        </p:txBody>
      </p:sp>
      <p:sp>
        <p:nvSpPr>
          <p:cNvPr id="6" name="bg object 17">
            <a:extLst>
              <a:ext uri="{FF2B5EF4-FFF2-40B4-BE49-F238E27FC236}">
                <a16:creationId xmlns:a16="http://schemas.microsoft.com/office/drawing/2014/main" id="{E9FD20BA-76F9-B031-0B79-3F63B4ACF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bg object 18">
            <a:extLst>
              <a:ext uri="{FF2B5EF4-FFF2-40B4-BE49-F238E27FC236}">
                <a16:creationId xmlns:a16="http://schemas.microsoft.com/office/drawing/2014/main" id="{59C7F3AD-CABD-3374-7597-CE359F051C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E83F4B9E-CC08-E107-C5C1-CC2F1C2A9E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3" name="bg object 17">
            <a:extLst>
              <a:ext uri="{FF2B5EF4-FFF2-40B4-BE49-F238E27FC236}">
                <a16:creationId xmlns:a16="http://schemas.microsoft.com/office/drawing/2014/main" id="{C67C198E-4ABA-27D9-DA23-7DB3AF5FF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E436AAC6-AF63-E7BB-67AD-452A822815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object 7" descr="MassDOT Logo">
            <a:extLst>
              <a:ext uri="{FF2B5EF4-FFF2-40B4-BE49-F238E27FC236}">
                <a16:creationId xmlns:a16="http://schemas.microsoft.com/office/drawing/2014/main" id="{AD9E2D9A-8E05-A8B3-F335-714E33A2A28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9549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Holder 5">
            <a:extLst>
              <a:ext uri="{FF2B5EF4-FFF2-40B4-BE49-F238E27FC236}">
                <a16:creationId xmlns:a16="http://schemas.microsoft.com/office/drawing/2014/main" id="{1496C1EB-2919-0530-D2C7-0A64CFBE92E1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4269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56701B9-59D9-241D-F7F5-1E8A558B11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29870" y="228600"/>
            <a:ext cx="11732260" cy="6400800"/>
          </a:xfrm>
          <a:custGeom>
            <a:avLst/>
            <a:gdLst/>
            <a:ahLst/>
            <a:cxnLst/>
            <a:rect l="l" t="t" r="r" b="b"/>
            <a:pathLst>
              <a:path w="11732260" h="6400800">
                <a:moveTo>
                  <a:pt x="11731752" y="0"/>
                </a:moveTo>
                <a:lnTo>
                  <a:pt x="0" y="0"/>
                </a:lnTo>
                <a:lnTo>
                  <a:pt x="0" y="6400800"/>
                </a:lnTo>
                <a:lnTo>
                  <a:pt x="11731752" y="6400800"/>
                </a:lnTo>
                <a:lnTo>
                  <a:pt x="11731752" y="0"/>
                </a:lnTo>
                <a:close/>
              </a:path>
            </a:pathLst>
          </a:custGeom>
          <a:solidFill>
            <a:srgbClr val="0052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DAF467DB-6942-0500-3F1B-E23DDEE2AC1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809707" y="2949900"/>
            <a:ext cx="2810293" cy="5360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400" b="0" i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ivider </a:t>
            </a:r>
            <a:r>
              <a:rPr sz="3400" b="0" i="0" spc="-2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age</a:t>
            </a:r>
            <a:endParaRPr sz="3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3746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901700" y="474979"/>
            <a:ext cx="10147300" cy="744221"/>
          </a:xfrm>
        </p:spPr>
        <p:txBody>
          <a:bodyPr lIns="0" tIns="0" rIns="0" bIns="0"/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ECF9B3F-75C0-8F6B-AEA8-DD20C31345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Holder 3">
            <a:extLst>
              <a:ext uri="{FF2B5EF4-FFF2-40B4-BE49-F238E27FC236}">
                <a16:creationId xmlns:a16="http://schemas.microsoft.com/office/drawing/2014/main" id="{6962396F-9465-BEA5-7DBF-E925965D7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4" name="bg object 18">
            <a:extLst>
              <a:ext uri="{FF2B5EF4-FFF2-40B4-BE49-F238E27FC236}">
                <a16:creationId xmlns:a16="http://schemas.microsoft.com/office/drawing/2014/main" id="{2DD23F18-BACB-51E5-D986-AF468DA0B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17025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>
            <a:extLst>
              <a:ext uri="{FF2B5EF4-FFF2-40B4-BE49-F238E27FC236}">
                <a16:creationId xmlns:a16="http://schemas.microsoft.com/office/drawing/2014/main" id="{6880C750-AB3C-9851-A6E3-E0E2F0194127}"/>
              </a:ext>
            </a:extLst>
          </p:cNvPr>
          <p:cNvSpPr txBox="1">
            <a:spLocks/>
          </p:cNvSpPr>
          <p:nvPr userDrawn="1"/>
        </p:nvSpPr>
        <p:spPr>
          <a:xfrm>
            <a:off x="8740140" y="903141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defPPr>
              <a:defRPr kern="0"/>
            </a:defPPr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9890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4/14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45178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1" y="1584718"/>
            <a:ext cx="10515972" cy="13849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2715AF96-5ECE-47C0-8CE4-C5099EE4A9B9}" type="datetime1">
              <a:rPr lang="en-US" smtClean="0"/>
              <a:t>4/14/202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46166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4169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250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650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4364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43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image" Target="../media/image9.png"/><Relationship Id="rId5" Type="http://schemas.openxmlformats.org/officeDocument/2006/relationships/slideLayout" Target="../slideLayouts/slideLayout41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31" Type="http://schemas.openxmlformats.org/officeDocument/2006/relationships/image" Target="../media/image8.emf"/><Relationship Id="rId4" Type="http://schemas.openxmlformats.org/officeDocument/2006/relationships/slideLayout" Target="../slideLayouts/slideLayout40.xml"/><Relationship Id="rId9" Type="http://schemas.openxmlformats.org/officeDocument/2006/relationships/theme" Target="../theme/theme5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5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C68F6BC1-8266-4D12-96DD-909D5278AA3D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fld id="{4421358C-0DEE-4D35-BD14-2A70E6046756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1436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4A44949-FCE2-EB44-87B0-240186053EFB}"/>
              </a:ext>
            </a:extLst>
          </p:cNvPr>
          <p:cNvSpPr/>
          <p:nvPr userDrawn="1"/>
        </p:nvSpPr>
        <p:spPr>
          <a:xfrm>
            <a:off x="0" y="-1079"/>
            <a:ext cx="11494113" cy="665623"/>
          </a:xfrm>
          <a:prstGeom prst="rect">
            <a:avLst/>
          </a:prstGeom>
          <a:solidFill>
            <a:srgbClr val="EBE4D9">
              <a:alpha val="4431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43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6DC4EC0-92C7-A541-905A-C0E7869BBD9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4805" y="6366104"/>
            <a:ext cx="1419510" cy="29056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238D573-D372-BE48-BE51-AF1E1FFF5AB7}"/>
              </a:ext>
            </a:extLst>
          </p:cNvPr>
          <p:cNvSpPr/>
          <p:nvPr userDrawn="1"/>
        </p:nvSpPr>
        <p:spPr>
          <a:xfrm>
            <a:off x="11556735" y="0"/>
            <a:ext cx="635266" cy="665623"/>
          </a:xfrm>
          <a:prstGeom prst="rect">
            <a:avLst/>
          </a:prstGeom>
          <a:solidFill>
            <a:srgbClr val="EBE4D9">
              <a:alpha val="4431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4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5CEAD74-4E59-824A-B205-9481617BCA85}"/>
              </a:ext>
            </a:extLst>
          </p:cNvPr>
          <p:cNvSpPr txBox="1">
            <a:spLocks/>
          </p:cNvSpPr>
          <p:nvPr userDrawn="1"/>
        </p:nvSpPr>
        <p:spPr>
          <a:xfrm>
            <a:off x="11556734" y="-1079"/>
            <a:ext cx="646929" cy="665623"/>
          </a:xfrm>
          <a:prstGeom prst="rect">
            <a:avLst/>
          </a:prstGeom>
        </p:spPr>
        <p:txBody>
          <a:bodyPr vert="horz" lIns="41112" tIns="20556" rIns="41112" bIns="20556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037DC5-EDED-894D-BF20-33A9F9BB9EDA}" type="slidenum">
              <a:rPr lang="en-US" sz="1079">
                <a:solidFill>
                  <a:srgbClr val="635B52">
                    <a:alpha val="75000"/>
                  </a:srgbClr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pPr/>
              <a:t>‹#›</a:t>
            </a:fld>
            <a:r>
              <a:rPr lang="en-US" sz="1079">
                <a:solidFill>
                  <a:srgbClr val="635B52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7007D6E-13EC-1445-A2C0-AC6E9D5401A5}"/>
              </a:ext>
            </a:extLst>
          </p:cNvPr>
          <p:cNvSpPr txBox="1">
            <a:spLocks/>
          </p:cNvSpPr>
          <p:nvPr userDrawn="1"/>
        </p:nvSpPr>
        <p:spPr>
          <a:xfrm>
            <a:off x="538680" y="149021"/>
            <a:ext cx="6407091" cy="365423"/>
          </a:xfrm>
          <a:prstGeom prst="rect">
            <a:avLst/>
          </a:prstGeom>
        </p:spPr>
        <p:txBody>
          <a:bodyPr vert="horz" lIns="53832" tIns="26916" rIns="53832" bIns="26916" rtlCol="0" anchor="ctr"/>
          <a:lstStyle>
            <a:defPPr>
              <a:defRPr lang="en-US"/>
            </a:defPPr>
            <a:lvl1pPr marL="0" algn="l" defTabSz="457200" rtl="0" eaLnBrk="1" latinLnBrk="0" hangingPunct="1">
              <a:defRPr sz="1380" b="1" i="0" kern="1200" spc="300">
                <a:solidFill>
                  <a:srgbClr val="635B52">
                    <a:alpha val="75000"/>
                  </a:srgbClr>
                </a:solidFill>
                <a:latin typeface="Helvetica" pitchFamily="2" charset="0"/>
                <a:ea typeface="Helvetica Neue Light" panose="02000403000000020004" pitchFamily="2" charset="0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77">
                <a:latin typeface="Arial" panose="020B0604020202020204" pitchFamily="34" charset="0"/>
                <a:cs typeface="Arial" panose="020B0604020202020204" pitchFamily="34" charset="0"/>
              </a:rPr>
              <a:t>MASSACHUSETTS DEPARTMENT OF TRANSPORTATION</a:t>
            </a:r>
          </a:p>
        </p:txBody>
      </p:sp>
    </p:spTree>
    <p:extLst>
      <p:ext uri="{BB962C8B-B14F-4D97-AF65-F5344CB8AC3E}">
        <p14:creationId xmlns:p14="http://schemas.microsoft.com/office/powerpoint/2010/main" val="175977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sldNum="0" hdr="0" dt="0"/>
  <p:txStyles>
    <p:titleStyle>
      <a:lvl1pPr algn="l" defTabSz="538307" rtl="0" eaLnBrk="1" latinLnBrk="0" hangingPunct="1">
        <a:lnSpc>
          <a:spcPct val="90000"/>
        </a:lnSpc>
        <a:spcBef>
          <a:spcPct val="0"/>
        </a:spcBef>
        <a:buNone/>
        <a:defRPr sz="2696" b="1" i="0" kern="1200">
          <a:solidFill>
            <a:srgbClr val="00669C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0" indent="0" algn="l" defTabSz="538307" rtl="0" eaLnBrk="1" latinLnBrk="0" hangingPunct="1">
        <a:lnSpc>
          <a:spcPct val="90000"/>
        </a:lnSpc>
        <a:spcBef>
          <a:spcPts val="589"/>
        </a:spcBef>
        <a:buFont typeface="Arial" panose="020B0604020202020204" pitchFamily="34" charset="0"/>
        <a:buNone/>
        <a:defRPr sz="1077" b="0" i="0" kern="1200">
          <a:solidFill>
            <a:schemeClr val="tx1">
              <a:lumMod val="75000"/>
              <a:lumOff val="25000"/>
            </a:schemeClr>
          </a:solidFill>
          <a:latin typeface="Helvetica Light" panose="020B0403020202020204" pitchFamily="34" charset="0"/>
          <a:ea typeface="+mn-ea"/>
          <a:cs typeface="+mn-cs"/>
        </a:defRPr>
      </a:lvl1pPr>
      <a:lvl2pPr marL="403730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413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2pPr>
      <a:lvl3pPr marL="672884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177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3pPr>
      <a:lvl4pPr marL="942038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4pPr>
      <a:lvl5pPr marL="1211191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b="0" i="0" kern="1200">
          <a:solidFill>
            <a:schemeClr val="tx1"/>
          </a:solidFill>
          <a:latin typeface="Helvetica" pitchFamily="2" charset="0"/>
          <a:ea typeface="+mn-ea"/>
          <a:cs typeface="+mn-cs"/>
        </a:defRPr>
      </a:lvl5pPr>
      <a:lvl6pPr marL="1480345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6pPr>
      <a:lvl7pPr marL="1749499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7pPr>
      <a:lvl8pPr marL="2018652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8pPr>
      <a:lvl9pPr marL="2287806" indent="-134577" algn="l" defTabSz="538307" rtl="0" eaLnBrk="1" latinLnBrk="0" hangingPunct="1">
        <a:lnSpc>
          <a:spcPct val="90000"/>
        </a:lnSpc>
        <a:spcBef>
          <a:spcPts val="294"/>
        </a:spcBef>
        <a:buFont typeface="Arial" panose="020B0604020202020204" pitchFamily="34" charset="0"/>
        <a:buChar char="•"/>
        <a:defRPr sz="10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1pPr>
      <a:lvl2pPr marL="269154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2pPr>
      <a:lvl3pPr marL="538307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3pPr>
      <a:lvl4pPr marL="807461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4pPr>
      <a:lvl5pPr marL="1076615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5pPr>
      <a:lvl6pPr marL="1345768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6pPr>
      <a:lvl7pPr marL="1614922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7pPr>
      <a:lvl8pPr marL="1884075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8pPr>
      <a:lvl9pPr marL="2153229" algn="l" defTabSz="538307" rtl="0" eaLnBrk="1" latinLnBrk="0" hangingPunct="1">
        <a:defRPr sz="10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7678744-65B6-FCAC-F5E7-9A8FA6CA6143}"/>
              </a:ext>
            </a:extLst>
          </p:cNvPr>
          <p:cNvSpPr/>
          <p:nvPr userDrawn="1"/>
        </p:nvSpPr>
        <p:spPr>
          <a:xfrm>
            <a:off x="0" y="6541565"/>
            <a:ext cx="12192000" cy="274320"/>
          </a:xfrm>
          <a:prstGeom prst="rect">
            <a:avLst/>
          </a:prstGeom>
          <a:gradFill>
            <a:gsLst>
              <a:gs pos="0">
                <a:srgbClr val="0065A4"/>
              </a:gs>
              <a:gs pos="99000">
                <a:srgbClr val="7AC14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62C751-02EB-55B3-9477-BBA652250831}"/>
              </a:ext>
            </a:extLst>
          </p:cNvPr>
          <p:cNvSpPr/>
          <p:nvPr userDrawn="1"/>
        </p:nvSpPr>
        <p:spPr>
          <a:xfrm>
            <a:off x="0" y="6821549"/>
            <a:ext cx="12192000" cy="62816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3FEBA6-3665-4A74-CDE0-BC479D4A6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2476500"/>
            <a:ext cx="5791200" cy="37004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17AB30-1933-6DF2-613C-68DAD468AF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728" y="6423202"/>
            <a:ext cx="2510101" cy="396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12/20/2023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042562E5-4E22-7B86-E2BB-F565481A3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"/>
            <a:ext cx="11582400" cy="9976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2575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72" r:id="rId14"/>
    <p:sldLayoutId id="2147483867" r:id="rId15"/>
  </p:sldLayoutIdLst>
  <p:hf hdr="0"/>
  <p:txStyles>
    <p:titleStyle>
      <a:lvl1pPr marL="4763" indent="-4763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800" b="1" i="0" kern="1200" baseline="0">
          <a:solidFill>
            <a:srgbClr val="0065A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365760" rtl="0" eaLnBrk="1" latinLnBrk="0" hangingPunct="1">
        <a:lnSpc>
          <a:spcPct val="90000"/>
        </a:lnSpc>
        <a:spcBef>
          <a:spcPts val="1000"/>
        </a:spcBef>
        <a:spcAft>
          <a:spcPts val="10"/>
        </a:spcAft>
        <a:buFontTx/>
        <a:buNone/>
        <a:defRPr sz="18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4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1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5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200">
          <p15:clr>
            <a:srgbClr val="F26B43"/>
          </p15:clr>
        </p15:guide>
        <p15:guide id="4" orient="horz" pos="415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1416">
          <p15:clr>
            <a:srgbClr val="F26B43"/>
          </p15:clr>
        </p15:guide>
        <p15:guide id="7" pos="192">
          <p15:clr>
            <a:srgbClr val="F26B43"/>
          </p15:clr>
        </p15:guide>
        <p15:guide id="8" pos="7488">
          <p15:clr>
            <a:srgbClr val="F26B43"/>
          </p15:clr>
        </p15:guide>
        <p15:guide id="9" pos="264">
          <p15:clr>
            <a:srgbClr val="F26B43"/>
          </p15:clr>
        </p15:guide>
        <p15:guide id="10" pos="2016">
          <p15:clr>
            <a:srgbClr val="F26B43"/>
          </p15:clr>
        </p15:guide>
        <p15:guide id="11" pos="566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720128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fld id="{87DD084B-D6CE-8549-975C-55C9DDBAB6C4}" type="slidenum">
              <a:rPr lang="en-US" smtClean="0"/>
              <a:pPr defTabSz="457200"/>
              <a:t>‹#›</a:t>
            </a:fld>
            <a:endParaRPr lang="en-US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200"/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609600" y="734738"/>
            <a:ext cx="10972800" cy="6927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452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rgbClr val="1F497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1" name="Picture 2" descr="Seal of Massachusetts - Wikipedia">
            <a:extLst>
              <a:ext uri="{FF2B5EF4-FFF2-40B4-BE49-F238E27FC236}">
                <a16:creationId xmlns:a16="http://schemas.microsoft.com/office/drawing/2014/main" id="{1220DEBA-2E2F-4661-AA0C-922E6B034C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3746529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118507F-048D-CF78-2385-EA2B7ED4ED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"/>
          </a:blip>
          <a:stretch>
            <a:fillRect/>
          </a:stretch>
        </p:blipFill>
        <p:spPr>
          <a:xfrm>
            <a:off x="0" y="1958798"/>
            <a:ext cx="12192000" cy="492556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678744-65B6-FCAC-F5E7-9A8FA6CA6143}"/>
              </a:ext>
            </a:extLst>
          </p:cNvPr>
          <p:cNvSpPr/>
          <p:nvPr userDrawn="1"/>
        </p:nvSpPr>
        <p:spPr>
          <a:xfrm>
            <a:off x="0" y="6425183"/>
            <a:ext cx="12192000" cy="457200"/>
          </a:xfrm>
          <a:prstGeom prst="rect">
            <a:avLst/>
          </a:prstGeom>
          <a:gradFill>
            <a:gsLst>
              <a:gs pos="0">
                <a:srgbClr val="0065A4"/>
              </a:gs>
              <a:gs pos="99000">
                <a:srgbClr val="7AC143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A62C751-02EB-55B3-9477-BBA652250831}"/>
              </a:ext>
            </a:extLst>
          </p:cNvPr>
          <p:cNvSpPr/>
          <p:nvPr userDrawn="1"/>
        </p:nvSpPr>
        <p:spPr>
          <a:xfrm>
            <a:off x="0" y="6821549"/>
            <a:ext cx="12192000" cy="62816"/>
          </a:xfrm>
          <a:prstGeom prst="rect">
            <a:avLst/>
          </a:prstGeom>
          <a:solidFill>
            <a:srgbClr val="FFF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3FEBA6-3665-4A74-CDE0-BC479D4A6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04800" y="2476500"/>
            <a:ext cx="5791200" cy="370046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17AB30-1933-6DF2-613C-68DAD468AF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63728" y="6423202"/>
            <a:ext cx="2510101" cy="396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02/29/24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03AA3-C78B-FB12-3F61-F42EE2E638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3469" y="6432573"/>
            <a:ext cx="441290" cy="386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45EBD3CB-B0EF-374D-A7D9-9E1E0B8E9BA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042562E5-4E22-7B86-E2BB-F565481A3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"/>
            <a:ext cx="11582400" cy="9976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6E0F83BD-4B04-11E0-C9CE-ED974E1C7F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99104" y="6431977"/>
            <a:ext cx="4103885" cy="3872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ctr">
              <a:defRPr sz="1000" b="1" i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A3A2122-F7E0-898A-D039-19214B823816}"/>
              </a:ext>
            </a:extLst>
          </p:cNvPr>
          <p:cNvSpPr txBox="1">
            <a:spLocks/>
          </p:cNvSpPr>
          <p:nvPr userDrawn="1"/>
        </p:nvSpPr>
        <p:spPr>
          <a:xfrm>
            <a:off x="11097897" y="6423201"/>
            <a:ext cx="220344" cy="405459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l" defTabSz="914400" rtl="0" eaLnBrk="1" latinLnBrk="0" hangingPunct="1">
              <a:defRPr sz="1050" b="0" i="0" kern="1200">
                <a:solidFill>
                  <a:schemeClr val="bg1"/>
                </a:solidFill>
                <a:latin typeface="Gotham Medium" pitchFamily="2" charset="0"/>
                <a:ea typeface="+mn-ea"/>
                <a:cs typeface="Gotham Medium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>
                <a:latin typeface="Calibri" panose="020F0502020204030204" pitchFamily="34" charset="0"/>
                <a:cs typeface="Calibri" panose="020F0502020204030204" pitchFamily="34" charset="0"/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479385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</p:sldLayoutIdLst>
  <p:hf sldNum="0" hdr="0" ftr="0"/>
  <p:txStyles>
    <p:titleStyle>
      <a:lvl1pPr marL="4763" indent="-4763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800" b="1" i="0" kern="1200" baseline="0">
          <a:solidFill>
            <a:srgbClr val="0065A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365760" rtl="0" eaLnBrk="1" latinLnBrk="0" hangingPunct="1">
        <a:lnSpc>
          <a:spcPct val="90000"/>
        </a:lnSpc>
        <a:spcBef>
          <a:spcPts val="1000"/>
        </a:spcBef>
        <a:spcAft>
          <a:spcPts val="10"/>
        </a:spcAft>
        <a:buFontTx/>
        <a:buNone/>
        <a:defRPr sz="18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4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1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5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0" indent="0" algn="l" defTabSz="365760" rtl="0" eaLnBrk="1" latinLnBrk="0" hangingPunct="1">
        <a:lnSpc>
          <a:spcPct val="90000"/>
        </a:lnSpc>
        <a:spcBef>
          <a:spcPts val="500"/>
        </a:spcBef>
        <a:spcAft>
          <a:spcPts val="10"/>
        </a:spcAft>
        <a:buFontTx/>
        <a:buNone/>
        <a:defRPr sz="1000" b="0" i="0" kern="1200" cap="none" baseline="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200">
          <p15:clr>
            <a:srgbClr val="F26B43"/>
          </p15:clr>
        </p15:guide>
        <p15:guide id="4" orient="horz" pos="4152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1416">
          <p15:clr>
            <a:srgbClr val="F26B43"/>
          </p15:clr>
        </p15:guide>
        <p15:guide id="7" pos="192">
          <p15:clr>
            <a:srgbClr val="F26B43"/>
          </p15:clr>
        </p15:guide>
        <p15:guide id="8" pos="7488">
          <p15:clr>
            <a:srgbClr val="F26B43"/>
          </p15:clr>
        </p15:guide>
        <p15:guide id="9" pos="264">
          <p15:clr>
            <a:srgbClr val="F26B43"/>
          </p15:clr>
        </p15:guide>
        <p15:guide id="10" pos="2016">
          <p15:clr>
            <a:srgbClr val="F26B43"/>
          </p15:clr>
        </p15:guide>
        <p15:guide id="11" pos="566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053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1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5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1700" y="474979"/>
            <a:ext cx="10199370" cy="856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000" b="1" i="1">
                <a:solidFill>
                  <a:srgbClr val="005295"/>
                </a:solidFill>
                <a:latin typeface="ITCErasStd-Demi"/>
                <a:cs typeface="ITCErasStd-Demi"/>
              </a:defRPr>
            </a:lvl1pPr>
          </a:lstStyle>
          <a:p>
            <a:pPr marL="12700">
              <a:lnSpc>
                <a:spcPts val="3479"/>
              </a:lnSpc>
              <a:spcBef>
                <a:spcPts val="100"/>
              </a:spcBef>
            </a:pPr>
            <a:r>
              <a:rPr lang="en-US" sz="3200" i="0" spc="-10">
                <a:latin typeface="Poppins" pitchFamily="2" charset="77"/>
                <a:cs typeface="Poppins" pitchFamily="2" charset="77"/>
              </a:rPr>
              <a:t>Title</a:t>
            </a:r>
            <a:r>
              <a:rPr lang="en-US" sz="3200" i="0" spc="-180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>
                <a:latin typeface="Poppins" pitchFamily="2" charset="77"/>
                <a:cs typeface="Poppins" pitchFamily="2" charset="77"/>
              </a:rPr>
              <a:t>Goes</a:t>
            </a:r>
            <a:r>
              <a:rPr lang="en-US" sz="3200" i="0" spc="-175">
                <a:latin typeface="Poppins" pitchFamily="2" charset="77"/>
                <a:cs typeface="Poppins" pitchFamily="2" charset="77"/>
              </a:rPr>
              <a:t> </a:t>
            </a:r>
            <a:r>
              <a:rPr lang="en-US" sz="3200" i="0" spc="-40">
                <a:latin typeface="Poppins" pitchFamily="2" charset="77"/>
                <a:cs typeface="Poppins" pitchFamily="2" charset="77"/>
              </a:rPr>
              <a:t>Here</a:t>
            </a:r>
            <a:br>
              <a:rPr lang="en-US" sz="3200" i="0" spc="-40">
                <a:latin typeface="Poppins" pitchFamily="2" charset="77"/>
                <a:cs typeface="Poppins" pitchFamily="2" charset="77"/>
              </a:rPr>
            </a:br>
            <a:r>
              <a:rPr lang="en-US" sz="2000" b="0" i="0" spc="-10">
                <a:latin typeface="Poppins" pitchFamily="2" charset="77"/>
                <a:cs typeface="Poppins" pitchFamily="2" charset="77"/>
              </a:rPr>
              <a:t>Subtit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01700" y="1959367"/>
            <a:ext cx="10199370" cy="20697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231F20"/>
                </a:solidFill>
                <a:latin typeface="HelveticaNeueLT Std"/>
                <a:cs typeface="HelveticaNeueLT Std"/>
              </a:defRPr>
            </a:lvl1pPr>
          </a:lstStyle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or accessibility and usability, use Poppins font with the smallest size being 14pt font on all slides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member to run the accessibility checker! It’s built into all Microsoft products. To run, go to the ribbon and select Review &gt; Check Accessibility. OR go to File &gt; Info &gt; Inspect Presentation drop down &gt; Select Check Accessibility.  It will show the results in a pane on the right side. By selecting each item listed, it will jump you to the issue. There is information about the error and support for fixing it. 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lways start your presentation with a new template. Do not reuse a previous presentation.</a:t>
            </a:r>
          </a:p>
          <a:p>
            <a:pPr marL="241300" marR="5080" lvl="0" indent="-228600" algn="just" defTabSz="91440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Char char="•"/>
              <a:tabLst>
                <a:tab pos="241300" algn="l"/>
              </a:tabLst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31F20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Make sure each slide has a unique title. Use ‘Part 1’ and ‘Part 2’ if you have more than one slide for the same topic.</a:t>
            </a:r>
          </a:p>
        </p:txBody>
      </p:sp>
      <p:sp>
        <p:nvSpPr>
          <p:cNvPr id="7" name="bg object 17">
            <a:extLst>
              <a:ext uri="{FF2B5EF4-FFF2-40B4-BE49-F238E27FC236}">
                <a16:creationId xmlns:a16="http://schemas.microsoft.com/office/drawing/2014/main" id="{5104C654-EB52-AD93-04AC-CB454DD5F3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bg object 18">
            <a:extLst>
              <a:ext uri="{FF2B5EF4-FFF2-40B4-BE49-F238E27FC236}">
                <a16:creationId xmlns:a16="http://schemas.microsoft.com/office/drawing/2014/main" id="{6154190B-DFD1-6D3D-E16D-4BA473BE13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7" descr="MassDOT Logo">
            <a:extLst>
              <a:ext uri="{FF2B5EF4-FFF2-40B4-BE49-F238E27FC236}">
                <a16:creationId xmlns:a16="http://schemas.microsoft.com/office/drawing/2014/main" id="{443BEFB0-71BD-4149-0537-7447E565E40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  <p:sp>
        <p:nvSpPr>
          <p:cNvPr id="4" name="bg object 17">
            <a:extLst>
              <a:ext uri="{FF2B5EF4-FFF2-40B4-BE49-F238E27FC236}">
                <a16:creationId xmlns:a16="http://schemas.microsoft.com/office/drawing/2014/main" id="{022259BC-4E9D-9794-E40F-3D7450B97B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2" y="-3990649"/>
            <a:ext cx="45720" cy="10629902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6" y="0"/>
                </a:moveTo>
                <a:lnTo>
                  <a:pt x="0" y="0"/>
                </a:lnTo>
                <a:lnTo>
                  <a:pt x="0" y="6400800"/>
                </a:lnTo>
                <a:lnTo>
                  <a:pt x="219456" y="6400800"/>
                </a:lnTo>
                <a:lnTo>
                  <a:pt x="219456" y="0"/>
                </a:lnTo>
                <a:close/>
              </a:path>
            </a:pathLst>
          </a:custGeom>
          <a:solidFill>
            <a:srgbClr val="49A94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bg object 18">
            <a:extLst>
              <a:ext uri="{FF2B5EF4-FFF2-40B4-BE49-F238E27FC236}">
                <a16:creationId xmlns:a16="http://schemas.microsoft.com/office/drawing/2014/main" id="{BD615877-9B07-91D4-E99D-23592BF1C0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06490" y="-4036487"/>
            <a:ext cx="45720" cy="10629899"/>
          </a:xfrm>
          <a:custGeom>
            <a:avLst/>
            <a:gdLst/>
            <a:ahLst/>
            <a:cxnLst/>
            <a:rect l="l" t="t" r="r" b="b"/>
            <a:pathLst>
              <a:path w="219710" h="6400800">
                <a:moveTo>
                  <a:pt x="219455" y="0"/>
                </a:moveTo>
                <a:lnTo>
                  <a:pt x="0" y="0"/>
                </a:lnTo>
                <a:lnTo>
                  <a:pt x="0" y="6400800"/>
                </a:lnTo>
                <a:lnTo>
                  <a:pt x="219455" y="6400800"/>
                </a:lnTo>
                <a:lnTo>
                  <a:pt x="219455" y="0"/>
                </a:lnTo>
                <a:close/>
              </a:path>
            </a:pathLst>
          </a:custGeom>
          <a:solidFill>
            <a:srgbClr val="007DC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object 7" descr="MassDOT Logo">
            <a:extLst>
              <a:ext uri="{FF2B5EF4-FFF2-40B4-BE49-F238E27FC236}">
                <a16:creationId xmlns:a16="http://schemas.microsoft.com/office/drawing/2014/main" id="{C9FCAC5B-52B7-F521-E34E-42BB4C52381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/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9345193" y="6083300"/>
            <a:ext cx="2199100" cy="444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815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12700" indent="0" eaLnBrk="1" hangingPunct="1">
        <a:buNone/>
        <a:defRPr lang="en-US" sz="1600" b="0" baseline="0" dirty="0" smtClean="0"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massachusetts-federal-grant-matching-funds" TargetMode="External"/><Relationship Id="rId2" Type="http://schemas.openxmlformats.org/officeDocument/2006/relationships/hyperlink" Target="https://forms.office.com/Pages/ResponsePage.aspx?id=Fh2GPrdIDkqYBowE2Bt7KhfzQgLHqeZApubrvc3icp5UNkVaMkQxUU4wSFQxNzNHRTFQWllZRk5DTS4u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fedfundsinfra@mass.gov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jpeg"/><Relationship Id="rId9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4.xml"/><Relationship Id="rId4" Type="http://schemas.openxmlformats.org/officeDocument/2006/relationships/hyperlink" Target="https://www.mass.gov/safe-routes-to-school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orgs/federal-funds-infrastructure-office" TargetMode="External"/><Relationship Id="rId3" Type="http://schemas.openxmlformats.org/officeDocument/2006/relationships/hyperlink" Target="mailto:Derek.Krevat@dot.state.ma.us" TargetMode="External"/><Relationship Id="rId7" Type="http://schemas.openxmlformats.org/officeDocument/2006/relationships/hyperlink" Target="https://www.grants.gov/search-grants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Relationship Id="rId6" Type="http://schemas.openxmlformats.org/officeDocument/2006/relationships/hyperlink" Target="https://www.transportation.gov/dot-navigator" TargetMode="External"/><Relationship Id="rId5" Type="http://schemas.openxmlformats.org/officeDocument/2006/relationships/hyperlink" Target="mailto:MassDOTGrantCenral@DOT.state.ma.us" TargetMode="External"/><Relationship Id="rId4" Type="http://schemas.openxmlformats.org/officeDocument/2006/relationships/hyperlink" Target="mailto:Kristen.E.Rebelo@DOT.state.ma.us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s://docs.google.com/spreadsheets/d/1xAm8qMFhy-Dd1-kUbC3CwxmcM_hhXVDA/edit#gid=1414008680" TargetMode="External"/><Relationship Id="rId3" Type="http://schemas.openxmlformats.org/officeDocument/2006/relationships/hyperlink" Target="https://www.irs.gov/pub/irs-pdf/p5817.pdf" TargetMode="External"/><Relationship Id="rId7" Type="http://schemas.openxmlformats.org/officeDocument/2006/relationships/hyperlink" Target="https://docs.google.com/spreadsheets/d/1CVRK0u2hud4j6Fl50fVkNJRWxtrtjLZ6/edit#gid=943854338" TargetMode="External"/><Relationship Id="rId2" Type="http://schemas.openxmlformats.org/officeDocument/2006/relationships/hyperlink" Target="https://www.mass.gov/info-details/direct-pay-information---unpublished?auHash=PPZJItQdhuHKyBkFE7zh6bHNa5qCuAgyDQds2xN-p2o" TargetMode="External"/><Relationship Id="rId1" Type="http://schemas.openxmlformats.org/officeDocument/2006/relationships/slideLayout" Target="../slideLayouts/slideLayout48.xml"/><Relationship Id="rId6" Type="http://schemas.openxmlformats.org/officeDocument/2006/relationships/hyperlink" Target="https://docs.google.com/spreadsheets/d/1-kzQNtIJ8VqlMpvNtyHYqDT1OUKs3S7U/edit#gid=1857506849" TargetMode="External"/><Relationship Id="rId5" Type="http://schemas.openxmlformats.org/officeDocument/2006/relationships/hyperlink" Target="https://www.lawyersforgoodgovernment.org/elective-pay-ira-tax-incentives" TargetMode="External"/><Relationship Id="rId10" Type="http://schemas.openxmlformats.org/officeDocument/2006/relationships/hyperlink" Target="https://www.irs.gov/credits-deductions/elective-pay-and-transferability-frequently-asked-questions-elective-pay" TargetMode="External"/><Relationship Id="rId4" Type="http://schemas.openxmlformats.org/officeDocument/2006/relationships/hyperlink" Target="https://www.americanprogress.org/events/how-cities-can-take-advantage-of-direct-pay/" TargetMode="External"/><Relationship Id="rId9" Type="http://schemas.openxmlformats.org/officeDocument/2006/relationships/hyperlink" Target="https://www.irs.gov/credits-deductions/register-for-elective-payment-or-transfer-of-credits" TargetMode="Externa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63.jpeg"/><Relationship Id="rId5" Type="http://schemas.openxmlformats.org/officeDocument/2006/relationships/image" Target="../media/image62.png"/><Relationship Id="rId4" Type="http://schemas.openxmlformats.org/officeDocument/2006/relationships/notesSlide" Target="../notesSlides/notesSlide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hyperlink" Target="mailto:FedFundsInfra@mass.gov" TargetMode="External"/><Relationship Id="rId7" Type="http://schemas.openxmlformats.org/officeDocument/2006/relationships/diagramColors" Target="../diagrams/colors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svg"/><Relationship Id="rId3" Type="http://schemas.openxmlformats.org/officeDocument/2006/relationships/image" Target="../media/image65.svg"/><Relationship Id="rId7" Type="http://schemas.openxmlformats.org/officeDocument/2006/relationships/image" Target="../media/image69.svg"/><Relationship Id="rId12" Type="http://schemas.openxmlformats.org/officeDocument/2006/relationships/image" Target="../media/image74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67.svg"/><Relationship Id="rId10" Type="http://schemas.openxmlformats.org/officeDocument/2006/relationships/image" Target="../media/image72.png"/><Relationship Id="rId4" Type="http://schemas.openxmlformats.org/officeDocument/2006/relationships/image" Target="../media/image66.png"/><Relationship Id="rId9" Type="http://schemas.openxmlformats.org/officeDocument/2006/relationships/image" Target="../media/image71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3" name="Rectangle 32">
            <a:extLst>
              <a:ext uri="{FF2B5EF4-FFF2-40B4-BE49-F238E27FC236}">
                <a16:creationId xmlns:a16="http://schemas.microsoft.com/office/drawing/2014/main" id="{A540FAC9-3505-49ED-9B06-A0F8C14853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879B3CD-E329-42F5-B136-BA1F37EC05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05464" y="484632"/>
            <a:ext cx="7453538" cy="58809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F387882-DF90-E287-A6BF-24F2BC095D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0096" y="977900"/>
            <a:ext cx="6539558" cy="3327734"/>
          </a:xfrm>
        </p:spPr>
        <p:txBody>
          <a:bodyPr anchor="b">
            <a:normAutofit/>
          </a:bodyPr>
          <a:lstStyle/>
          <a:p>
            <a:r>
              <a:rPr lang="en-US" sz="5400"/>
              <a:t>Federal funds &amp; infrastructure office </a:t>
            </a:r>
            <a:r>
              <a:rPr lang="en-US" sz="5400" b="1"/>
              <a:t>community tou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BF96C16-BDB2-15EE-4778-FA5D2DB3A8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90096" y="4621235"/>
            <a:ext cx="6539558" cy="1225028"/>
          </a:xfrm>
        </p:spPr>
        <p:txBody>
          <a:bodyPr anchor="t">
            <a:normAutofit/>
          </a:bodyPr>
          <a:lstStyle/>
          <a:p>
            <a:pPr algn="r"/>
            <a:r>
              <a:rPr lang="en-US" sz="2000"/>
              <a:t>Suffolk University, Boston</a:t>
            </a:r>
          </a:p>
          <a:p>
            <a:pPr algn="r"/>
            <a:r>
              <a:rPr lang="en-US" sz="2000"/>
              <a:t>April 9, 2025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1B042EF-3024-4C57-B282-1B30607FB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2158680" y="4476657"/>
            <a:ext cx="5370974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A0B4097-B645-43E0-A2B5-B8D688E745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484632"/>
            <a:ext cx="3584224" cy="588091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4735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58559" y="643467"/>
            <a:ext cx="422956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match legislation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92386" y="735955"/>
            <a:ext cx="6918613" cy="59400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atching Fun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Unlock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7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matching funds for federal program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entities, including RPA’s can now apply for match via the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FIO Match Request Form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arn more on the new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CADE4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sachusetts Matching Funds Websit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CADE4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Financial Assistance for Municipalit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Allocates up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$50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Times New Roman"/>
              </a:rPr>
              <a:t> in the form of grants, loans, or other financial assistance, which may be directed to municipalities.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 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/>
                <a:ea typeface="+mn-ea"/>
                <a:cs typeface="+mn-cs"/>
              </a:rPr>
              <a:t>Explore providing start-up capital for Direct Pay-eligible projects, etc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echnical Assistance for Municipalit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llocates up to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$12M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technical support to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s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 for grant application development and implementation assistance for successful awar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Leverage existing municipal outreach (partnership meetings, upcoming community tour, etc.) to understand municipal need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385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210312" y="643467"/>
            <a:ext cx="4105656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tching funds process 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B4FF78-B142-84EA-0463-0190E96E2742}"/>
              </a:ext>
            </a:extLst>
          </p:cNvPr>
          <p:cNvSpPr txBox="1"/>
          <p:nvPr/>
        </p:nvSpPr>
        <p:spPr>
          <a:xfrm>
            <a:off x="4812855" y="130629"/>
            <a:ext cx="7379145" cy="692497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ligible applicant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State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Independent governmental state or public entities (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quas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Municipalities (cities and town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Trib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Regional planning agencies (RPA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Community development corporations (CDCs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ther development authorities or agenci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rivate entities (under review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pplication proces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: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Fill out Federal Matching Funds For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Email supporting materials to </a:t>
            </a:r>
            <a:r>
              <a:rPr kumimoji="0" lang="en-US" sz="2000" b="0" i="0" u="sng" strike="noStrike" kern="1200" cap="none" spc="0" normalizeH="0" baseline="0" noProof="0">
                <a:ln>
                  <a:noFill/>
                </a:ln>
                <a:solidFill>
                  <a:srgbClr val="467886"/>
                </a:solidFill>
                <a:effectLst/>
                <a:uLnTx/>
                <a:uFillTx/>
                <a:latin typeface="Times New Roman" panose="02020603050405020304" pitchFamily="18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fedfundsinfra@mass.gov</a:t>
            </a:r>
            <a:endParaRPr kumimoji="0" lang="en-US" sz="2000" b="0" i="0" u="sng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Questions on form or materials: reach out to Bob and Sam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If your agency works with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on a federal program,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have the 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muni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 who would be award recipient apply for match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imelin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: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Three (3) weeks prior to federal application submission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FFIO and ANF review on a rolling basis (for now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Arial" panose="020B0604020202020204" pitchFamily="34" charset="0"/>
              </a:rPr>
              <a:t>Still reviewing how to process retroactive requests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3718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946FF15-F511-99D5-E597-37312CDD5B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E95D99A-3234-9FAF-1BAD-C731E6C2BE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4327BE-8FF2-8C61-9172-6C2A3A35C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A7015AB-C239-9EC3-5808-B7DDB6919C43}"/>
              </a:ext>
            </a:extLst>
          </p:cNvPr>
          <p:cNvSpPr txBox="1">
            <a:spLocks/>
          </p:cNvSpPr>
          <p:nvPr/>
        </p:nvSpPr>
        <p:spPr>
          <a:xfrm>
            <a:off x="586771" y="401197"/>
            <a:ext cx="3480753" cy="199914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Project Prioritization Proces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4C5B8F-9A2D-EAC4-A254-63CAFC561E3A}"/>
              </a:ext>
            </a:extLst>
          </p:cNvPr>
          <p:cNvSpPr txBox="1"/>
          <p:nvPr/>
        </p:nvSpPr>
        <p:spPr>
          <a:xfrm>
            <a:off x="5049219" y="489734"/>
            <a:ext cx="7076106" cy="51398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evelop Project Prioritization Lis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ggregate priority projects through RPAs, EJ organizations, the Road Show, engagement with mayors, Fed Funds Partnership meetings, EEA's Green Communities and MVP program, etc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Identify potential federal funding sources, other potential financial assistance (e.g., match funding, loans, grants), and TA roadblocks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Create and execute plan to advances issues related to these project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800100" marR="0" lvl="1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,Sans-Serif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457200" marR="0" lvl="0" indent="-4572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Tw Cen MT Condensed" panose="020B0606020104020203"/>
              <a:buAutoNum type="arabicPeriod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5" name="Graphic 4" descr="List with solid fill">
            <a:extLst>
              <a:ext uri="{FF2B5EF4-FFF2-40B4-BE49-F238E27FC236}">
                <a16:creationId xmlns:a16="http://schemas.microsoft.com/office/drawing/2014/main" id="{E0553282-6E06-7A42-19C7-1C541F4009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9264" y="3303870"/>
            <a:ext cx="2525829" cy="2525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3939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New Federal Funding Opportunitie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51847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804423" y="108836"/>
            <a:ext cx="9232052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TRANSPORTATION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68F81D1-7524-C303-1F6B-2A267DC097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44920876"/>
              </p:ext>
            </p:extLst>
          </p:nvPr>
        </p:nvGraphicFramePr>
        <p:xfrm>
          <a:off x="896583" y="953513"/>
          <a:ext cx="10698948" cy="228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62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660904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271016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2067483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325693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62812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>
                          <a:solidFill>
                            <a:srgbClr val="1CADE4"/>
                          </a:solidFill>
                        </a:rPr>
                        <a:t>Safe Streets and Roads for All (SS4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Local Governments, Tribes, Universities, School Distri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25,000,000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20% (with exceptio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6/26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35803311"/>
                  </a:ext>
                </a:extLst>
              </a:tr>
              <a:tr h="62812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>
                          <a:solidFill>
                            <a:srgbClr val="1CADE4"/>
                          </a:solidFill>
                        </a:rPr>
                        <a:t>PROTECT Gra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State,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$60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0-2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Expected Timeline: Spring 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50426219"/>
                  </a:ext>
                </a:extLst>
              </a:tr>
              <a:tr h="62812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>
                          <a:solidFill>
                            <a:srgbClr val="1CADE4"/>
                          </a:solidFill>
                        </a:rPr>
                        <a:t>Port Infrastructure Development Progra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State, Local Governments, Trib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12,500,000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20% (with exception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4/3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13316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667678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804423" y="108836"/>
            <a:ext cx="9232052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CLIMATE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368F81D1-7524-C303-1F6B-2A267DC0979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96583" y="953513"/>
          <a:ext cx="10698946" cy="5303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62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660904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23579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293356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2067482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298032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77656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>
                          <a:solidFill>
                            <a:srgbClr val="1CADE4"/>
                          </a:solidFill>
                        </a:rPr>
                        <a:t>Candidate Species Conservation Fund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/>
                        <a:t>State, Local Governments, Tribes, Universities, School Districts, Nonprofits, Small Businesses, Individual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N/A</a:t>
                      </a:r>
                    </a:p>
                    <a:p>
                      <a:pPr lvl="0" algn="ctr">
                        <a:buNone/>
                      </a:pPr>
                      <a:br>
                        <a:rPr lang="en-US"/>
                      </a:br>
                      <a:r>
                        <a:rPr lang="en-US" sz="1600"/>
                        <a:t>Total Program Funding: $500,000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9/30/2025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7175379"/>
                  </a:ext>
                </a:extLst>
              </a:tr>
              <a:tr h="776568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>
                          <a:solidFill>
                            <a:srgbClr val="1CADE4"/>
                          </a:solidFill>
                        </a:rPr>
                        <a:t>Partnership for Fish and Wildlife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/>
                        <a:t>State, Local Governments, Tribes, For-Profits, Nonprofi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$75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9/30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0295564"/>
                  </a:ext>
                </a:extLst>
              </a:tr>
              <a:tr h="776568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>
                          <a:solidFill>
                            <a:srgbClr val="1CADE4"/>
                          </a:solidFill>
                        </a:rPr>
                        <a:t>Round 3 - Habitat Resto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/>
                        <a:t>State, Local Governments, Tribes, NGOs, Small Businesses, Universiti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$2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N/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5/16/20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12237723"/>
                  </a:ext>
                </a:extLst>
              </a:tr>
              <a:tr h="776567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 kern="1200">
                          <a:solidFill>
                            <a:srgbClr val="1CADE4"/>
                          </a:solidFill>
                          <a:latin typeface="+mn-lt"/>
                          <a:ea typeface="+mn-ea"/>
                          <a:cs typeface="+mn-cs"/>
                        </a:rPr>
                        <a:t>Coastal Program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/>
                        <a:t>State, Local Governments, Tribes, Universities, School Districts, Housing Authorities, Nonprofits, Small Businesses, Individual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0" i="0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500,000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/>
                        <a:t>N/A</a:t>
                      </a:r>
                    </a:p>
                    <a:p>
                      <a:pPr lvl="0" algn="ctr">
                        <a:buNone/>
                      </a:pP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+mn-lt"/>
                        </a:rPr>
                        <a:t>9/30/2025</a:t>
                      </a:r>
                      <a:endParaRPr lang="en-US"/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800" b="0" i="0" u="none" strike="noStrike" baseline="0" noProof="0">
                        <a:solidFill>
                          <a:srgbClr val="000000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46918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1479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537BF5-9D4E-B14B-0746-0340951999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9C1EC7BE-EB5D-D4E6-6A7F-F159DC27FCBB}"/>
              </a:ext>
            </a:extLst>
          </p:cNvPr>
          <p:cNvSpPr txBox="1">
            <a:spLocks/>
          </p:cNvSpPr>
          <p:nvPr/>
        </p:nvSpPr>
        <p:spPr>
          <a:xfrm>
            <a:off x="804423" y="108836"/>
            <a:ext cx="9232052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>
                <a:solidFill>
                  <a:prstClr val="black"/>
                </a:solidFill>
                <a:latin typeface="Tw Cen MT Condensed" panose="020B0606020104020203"/>
              </a:rPr>
              <a:t>research/education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20DC522C-D5EB-9BC8-3212-4035AAC3882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0700781"/>
              </p:ext>
            </p:extLst>
          </p:nvPr>
        </p:nvGraphicFramePr>
        <p:xfrm>
          <a:off x="1071509" y="1104097"/>
          <a:ext cx="10531479" cy="52429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0705">
                  <a:extLst>
                    <a:ext uri="{9D8B030D-6E8A-4147-A177-3AD203B41FA5}">
                      <a16:colId xmlns:a16="http://schemas.microsoft.com/office/drawing/2014/main" val="2671306494"/>
                    </a:ext>
                  </a:extLst>
                </a:gridCol>
                <a:gridCol w="2129116">
                  <a:extLst>
                    <a:ext uri="{9D8B030D-6E8A-4147-A177-3AD203B41FA5}">
                      <a16:colId xmlns:a16="http://schemas.microsoft.com/office/drawing/2014/main" val="218610169"/>
                    </a:ext>
                  </a:extLst>
                </a:gridCol>
                <a:gridCol w="1493728">
                  <a:extLst>
                    <a:ext uri="{9D8B030D-6E8A-4147-A177-3AD203B41FA5}">
                      <a16:colId xmlns:a16="http://schemas.microsoft.com/office/drawing/2014/main" val="984653292"/>
                    </a:ext>
                  </a:extLst>
                </a:gridCol>
                <a:gridCol w="1419554">
                  <a:extLst>
                    <a:ext uri="{9D8B030D-6E8A-4147-A177-3AD203B41FA5}">
                      <a16:colId xmlns:a16="http://schemas.microsoft.com/office/drawing/2014/main" val="1128003734"/>
                    </a:ext>
                  </a:extLst>
                </a:gridCol>
                <a:gridCol w="1858376">
                  <a:extLst>
                    <a:ext uri="{9D8B030D-6E8A-4147-A177-3AD203B41FA5}">
                      <a16:colId xmlns:a16="http://schemas.microsoft.com/office/drawing/2014/main" val="718383172"/>
                    </a:ext>
                  </a:extLst>
                </a:gridCol>
              </a:tblGrid>
              <a:tr h="298069"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FFFFFF"/>
                          </a:solidFill>
                          <a:effectLst/>
                          <a:latin typeface="Tw Cen MT"/>
                        </a:rPr>
                        <a:t>Grant Name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ADE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FFFFFF"/>
                          </a:solidFill>
                          <a:effectLst/>
                          <a:latin typeface="Tw Cen MT"/>
                        </a:rPr>
                        <a:t>Eligibility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ADE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FFFFFF"/>
                          </a:solidFill>
                          <a:effectLst/>
                          <a:latin typeface="Tw Cen MT"/>
                        </a:rPr>
                        <a:t>Max Award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ADE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FFFFFF"/>
                          </a:solidFill>
                          <a:effectLst/>
                          <a:latin typeface="Tw Cen MT"/>
                        </a:rPr>
                        <a:t>Cost Share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ADE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FFFFFF"/>
                          </a:solidFill>
                          <a:effectLst/>
                          <a:latin typeface="Tw Cen MT"/>
                        </a:rPr>
                        <a:t>Deadline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CAD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4966675"/>
                  </a:ext>
                </a:extLst>
              </a:tr>
              <a:tr h="737235"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NEH: Humanities Initiative</a:t>
                      </a:r>
                      <a:endParaRPr lang="en-US" sz="1800" b="0" i="0" u="none" strike="noStrike">
                        <a:solidFill>
                          <a:srgbClr val="1CADE4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auto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Institutions of Higher Education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$150,000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5/6/2025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13107"/>
                  </a:ext>
                </a:extLst>
              </a:tr>
              <a:tr h="737235"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Maternal and Child Health Research Consortium (MCH RC)</a:t>
                      </a:r>
                      <a:endParaRPr lang="en-US" sz="1800" b="0" i="0" u="none" strike="noStrike">
                        <a:solidFill>
                          <a:srgbClr val="1CADE4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State, Local Governments, Tribes, Nonprofits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$800,000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4/23/2025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286768"/>
                  </a:ext>
                </a:extLst>
              </a:tr>
              <a:tr h="385191"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NSF - Applied Mathematics</a:t>
                      </a:r>
                      <a:endParaRPr lang="en-US" sz="1800" b="0" i="0" u="none" strike="noStrike">
                        <a:solidFill>
                          <a:srgbClr val="1CADE4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Unrestricted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11/17/2025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550232"/>
                  </a:ext>
                </a:extLst>
              </a:tr>
              <a:tr h="737235"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FY26 Department of Defense Multidisciplinary Research Program of the University Research Initiative (MURI)</a:t>
                      </a:r>
                      <a:endParaRPr lang="en-US" sz="1800" b="0" i="0" u="none" strike="noStrike">
                        <a:solidFill>
                          <a:srgbClr val="1CADE4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Universities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$4,500,000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1F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9/5/2025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1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693661"/>
                  </a:ext>
                </a:extLst>
              </a:tr>
              <a:tr h="737235"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1" i="0" u="none" strike="noStrike" kern="120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Fire Science Innovations through Research and Education</a:t>
                      </a:r>
                      <a:endParaRPr lang="en-US" sz="1800" b="0" i="0" u="none" strike="noStrike">
                        <a:solidFill>
                          <a:srgbClr val="1CADE4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Unrestricted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 eaLnBrk="1" fontAlgn="t" latinLnBrk="0" hangingPunct="1">
                        <a:buNone/>
                      </a:pPr>
                      <a:r>
                        <a:rPr lang="en-US" sz="1800" b="0" i="0" u="none" strike="noStrike" kern="1200" baseline="0">
                          <a:solidFill>
                            <a:srgbClr val="000000"/>
                          </a:solidFill>
                          <a:effectLst/>
                          <a:latin typeface="Tw Cen MT"/>
                        </a:rPr>
                        <a:t>6/20/2025</a:t>
                      </a:r>
                      <a:endParaRPr lang="en-US" sz="1800" b="0" i="0" u="none" strike="noStrike"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7859453"/>
                  </a:ext>
                </a:extLst>
              </a:tr>
              <a:tr h="737235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i="0" u="none" strike="noStrike" kern="1200" noProof="0">
                          <a:solidFill>
                            <a:srgbClr val="1CADE4"/>
                          </a:solidFill>
                          <a:effectLst/>
                          <a:latin typeface="TW Cen MT"/>
                        </a:rPr>
                        <a:t>D.4 University Leadership Initiative 2 (ULI2)- NASA</a:t>
                      </a:r>
                      <a:endParaRPr lang="en-US">
                        <a:solidFill>
                          <a:srgbClr val="1CADE4"/>
                        </a:solidFill>
                      </a:endParaRPr>
                    </a:p>
                    <a:p>
                      <a:pPr marL="0" lvl="0" algn="ctr">
                        <a:buNone/>
                      </a:pPr>
                      <a:endParaRPr lang="en-US" sz="1800" b="1" i="0" u="none" strike="noStrike" kern="1200">
                        <a:solidFill>
                          <a:srgbClr val="1CADE4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TW Cen MT"/>
                        </a:rPr>
                        <a:t>Unrestricted (target: Universities)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marL="0" lvl="0" indent="0" algn="ctr">
                        <a:buNone/>
                      </a:pPr>
                      <a:endParaRPr lang="en-US" sz="1800" b="0" i="0" u="none" strike="noStrike" kern="1200">
                        <a:solidFill>
                          <a:schemeClr val="tx1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marL="0" lvl="0" algn="ctr">
                        <a:buNone/>
                      </a:pPr>
                      <a:endParaRPr lang="en-US" sz="1800" b="0" i="0" u="none" strike="noStrike" kern="1200">
                        <a:solidFill>
                          <a:schemeClr val="tx1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kern="1200" noProof="0">
                          <a:solidFill>
                            <a:schemeClr val="tx1"/>
                          </a:solidFill>
                          <a:effectLst/>
                          <a:latin typeface="TW Cen MT"/>
                        </a:rPr>
                        <a:t>N/A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marL="0" lvl="0" algn="ctr">
                        <a:buNone/>
                      </a:pPr>
                      <a:endParaRPr lang="en-US" sz="1800" b="0" i="0" u="none" strike="noStrike" kern="1200">
                        <a:solidFill>
                          <a:schemeClr val="tx1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kern="1200" baseline="0" noProof="0">
                          <a:solidFill>
                            <a:schemeClr val="tx1"/>
                          </a:solidFill>
                          <a:effectLst/>
                          <a:latin typeface="TW Cen MT"/>
                        </a:rPr>
                        <a:t>6/26/2025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marL="0" lvl="0" indent="0" algn="ctr">
                        <a:buNone/>
                      </a:pPr>
                      <a:endParaRPr lang="en-US" sz="1800" b="0" i="0" u="none" strike="noStrike" kern="1200" baseline="0">
                        <a:solidFill>
                          <a:schemeClr val="tx1"/>
                        </a:solidFill>
                        <a:effectLst/>
                        <a:latin typeface="Tw Cen MT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3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2255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24671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D758DF-B7CA-A22C-E36F-9C3CE126D7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C9D6611-F99A-592A-B024-0EDBE80EB6D1}"/>
              </a:ext>
            </a:extLst>
          </p:cNvPr>
          <p:cNvSpPr txBox="1">
            <a:spLocks/>
          </p:cNvSpPr>
          <p:nvPr/>
        </p:nvSpPr>
        <p:spPr>
          <a:xfrm>
            <a:off x="804423" y="108836"/>
            <a:ext cx="9232052" cy="10024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all" spc="10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THRIVING communities (Public safety, Water, MiSc)</a:t>
            </a: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2AE3BF01-A016-BEC2-5A64-E30D1EBA132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3100401"/>
              </p:ext>
            </p:extLst>
          </p:nvPr>
        </p:nvGraphicFramePr>
        <p:xfrm>
          <a:off x="896583" y="953513"/>
          <a:ext cx="10698948" cy="20173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3625">
                  <a:extLst>
                    <a:ext uri="{9D8B030D-6E8A-4147-A177-3AD203B41FA5}">
                      <a16:colId xmlns:a16="http://schemas.microsoft.com/office/drawing/2014/main" val="1434439961"/>
                    </a:ext>
                  </a:extLst>
                </a:gridCol>
                <a:gridCol w="2660904">
                  <a:extLst>
                    <a:ext uri="{9D8B030D-6E8A-4147-A177-3AD203B41FA5}">
                      <a16:colId xmlns:a16="http://schemas.microsoft.com/office/drawing/2014/main" val="2422528130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649423846"/>
                    </a:ext>
                  </a:extLst>
                </a:gridCol>
                <a:gridCol w="1271016">
                  <a:extLst>
                    <a:ext uri="{9D8B030D-6E8A-4147-A177-3AD203B41FA5}">
                      <a16:colId xmlns:a16="http://schemas.microsoft.com/office/drawing/2014/main" val="215457357"/>
                    </a:ext>
                  </a:extLst>
                </a:gridCol>
                <a:gridCol w="2067483">
                  <a:extLst>
                    <a:ext uri="{9D8B030D-6E8A-4147-A177-3AD203B41FA5}">
                      <a16:colId xmlns:a16="http://schemas.microsoft.com/office/drawing/2014/main" val="2914649782"/>
                    </a:ext>
                  </a:extLst>
                </a:gridCol>
              </a:tblGrid>
              <a:tr h="298032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Grant Nam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Eligi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x Awa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Cost Sh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Deadlin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2762885"/>
                  </a:ext>
                </a:extLst>
              </a:tr>
              <a:tr h="73723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800" b="1">
                          <a:solidFill>
                            <a:srgbClr val="1CADE4"/>
                          </a:solidFill>
                        </a:rPr>
                        <a:t>EDA Public Works Program (PWEAA)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US"/>
                        <a:t>States, Local Governments, Tribes, Universities, NG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$30,000,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/>
                        <a:t>20-4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rgbClr val="000000"/>
                          </a:solidFill>
                          <a:latin typeface="Tw Cen MT"/>
                        </a:rPr>
                        <a:t>Rolling</a:t>
                      </a:r>
                      <a:endParaRPr lang="en-US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650028"/>
                  </a:ext>
                </a:extLst>
              </a:tr>
              <a:tr h="737233"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1" i="0" u="none" strike="noStrike" noProof="0">
                          <a:solidFill>
                            <a:srgbClr val="1CADE4"/>
                          </a:solidFill>
                          <a:latin typeface="TW Cen MT"/>
                        </a:rPr>
                        <a:t>Drug Free Communities Support Program</a:t>
                      </a:r>
                      <a:endParaRPr lang="en-US"/>
                    </a:p>
                    <a:p>
                      <a:pPr lvl="0" algn="ctr">
                        <a:buNone/>
                      </a:pPr>
                      <a:endParaRPr lang="en-US" sz="1800" b="1">
                        <a:solidFill>
                          <a:srgbClr val="1CADE4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Local Governments, States, NGOs, Tribes, Schools.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$125K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lvl="0" algn="ctr">
                        <a:buNone/>
                      </a:pP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solidFill>
                            <a:schemeClr val="tx1"/>
                          </a:solidFill>
                          <a:latin typeface="TW Cen MT"/>
                        </a:rPr>
                        <a:t>100%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lvl="0" algn="ctr">
                        <a:buNone/>
                      </a:pPr>
                      <a:endParaRPr lang="en-US" b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baseline="0" noProof="0">
                          <a:solidFill>
                            <a:schemeClr val="tx1"/>
                          </a:solidFill>
                          <a:latin typeface="TW Cen MT"/>
                        </a:rPr>
                        <a:t>5/5/2025</a:t>
                      </a: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marL="0" lvl="0" indent="0" algn="ctr">
                        <a:lnSpc>
                          <a:spcPct val="100000"/>
                        </a:lnSpc>
                        <a:buNone/>
                      </a:pPr>
                      <a:endParaRPr lang="en-US" sz="1800" b="0" i="0" u="none" strike="noStrike" baseline="0" noProof="0">
                        <a:solidFill>
                          <a:schemeClr val="tx1"/>
                        </a:solidFill>
                        <a:latin typeface="Tw Cen M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03705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16315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F2225BC-61B3-B804-1A9E-0279FDB0C9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A73A0F7-C1E4-17B2-5FEE-BA9CB9D89468}"/>
              </a:ext>
            </a:extLst>
          </p:cNvPr>
          <p:cNvSpPr txBox="1">
            <a:spLocks/>
          </p:cNvSpPr>
          <p:nvPr/>
        </p:nvSpPr>
        <p:spPr>
          <a:xfrm>
            <a:off x="964788" y="804333"/>
            <a:ext cx="3391900" cy="52493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all" spc="100" normalizeH="0" baseline="0" noProof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Tw Cen MT Condensed" panose="020B0606020104020203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33A8EB1-8DDB-2D47-345B-C9E3F3F74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128" y="585216"/>
            <a:ext cx="10797758" cy="1499616"/>
          </a:xfrm>
        </p:spPr>
        <p:txBody>
          <a:bodyPr/>
          <a:lstStyle/>
          <a:p>
            <a:r>
              <a:rPr lang="en-US"/>
              <a:t>Other opportunities:</a:t>
            </a:r>
          </a:p>
        </p:txBody>
      </p:sp>
      <p:pic>
        <p:nvPicPr>
          <p:cNvPr id="2050" name="Picture 2" descr="Ocean Tech Hub | Driving the Blue ...">
            <a:extLst>
              <a:ext uri="{FF2B5EF4-FFF2-40B4-BE49-F238E27FC236}">
                <a16:creationId xmlns:a16="http://schemas.microsoft.com/office/drawing/2014/main" id="{24EE0811-4026-AB75-24A2-437A38395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8615" y="2169084"/>
            <a:ext cx="1664155" cy="211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New ARPA-H Initiative Will Support ...">
            <a:extLst>
              <a:ext uri="{FF2B5EF4-FFF2-40B4-BE49-F238E27FC236}">
                <a16:creationId xmlns:a16="http://schemas.microsoft.com/office/drawing/2014/main" id="{A384D696-B46F-AD1A-DFDC-ECD4A6FCF2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571" y="5256313"/>
            <a:ext cx="2492641" cy="68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olar Panel? Definition of Solar Panels">
            <a:extLst>
              <a:ext uri="{FF2B5EF4-FFF2-40B4-BE49-F238E27FC236}">
                <a16:creationId xmlns:a16="http://schemas.microsoft.com/office/drawing/2014/main" id="{85E82A9A-A1A0-BD93-E3E4-26C6BCED2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896" y="2126149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46362EA-CC81-1679-7B2E-1D5A02B3915F}"/>
              </a:ext>
            </a:extLst>
          </p:cNvPr>
          <p:cNvSpPr txBox="1"/>
          <p:nvPr/>
        </p:nvSpPr>
        <p:spPr>
          <a:xfrm>
            <a:off x="8644840" y="4022690"/>
            <a:ext cx="2579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IRECT PAY TAX CREDITS</a:t>
            </a:r>
          </a:p>
        </p:txBody>
      </p:sp>
      <p:pic>
        <p:nvPicPr>
          <p:cNvPr id="2056" name="Picture 8" descr="Advanced Research Projects Agency ...">
            <a:extLst>
              <a:ext uri="{FF2B5EF4-FFF2-40B4-BE49-F238E27FC236}">
                <a16:creationId xmlns:a16="http://schemas.microsoft.com/office/drawing/2014/main" id="{667D460F-37F5-B984-02C3-E5FC9A896F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7277" y="5002438"/>
            <a:ext cx="2557913" cy="1702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ancer Moonshot Blue Ribbon Panel ...">
            <a:extLst>
              <a:ext uri="{FF2B5EF4-FFF2-40B4-BE49-F238E27FC236}">
                <a16:creationId xmlns:a16="http://schemas.microsoft.com/office/drawing/2014/main" id="{35519CAB-85D0-FB7D-08AE-9F3E4A609B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0" y="4843493"/>
            <a:ext cx="3028950" cy="151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Rep. John Mahoney on X: &quot;Today, the MA ...">
            <a:extLst>
              <a:ext uri="{FF2B5EF4-FFF2-40B4-BE49-F238E27FC236}">
                <a16:creationId xmlns:a16="http://schemas.microsoft.com/office/drawing/2014/main" id="{575B09C0-5FDF-96DB-C81F-2707E4C36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383" y="2084832"/>
            <a:ext cx="2281127" cy="2281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Northeast Microelectronics Coalition ...">
            <a:extLst>
              <a:ext uri="{FF2B5EF4-FFF2-40B4-BE49-F238E27FC236}">
                <a16:creationId xmlns:a16="http://schemas.microsoft.com/office/drawing/2014/main" id="{12D82676-0F11-D2A0-8BC7-2282DBD50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4506" y="4960441"/>
            <a:ext cx="1963125" cy="1137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Ocean Tech Hub | Driving the Blue ...">
            <a:extLst>
              <a:ext uri="{FF2B5EF4-FFF2-40B4-BE49-F238E27FC236}">
                <a16:creationId xmlns:a16="http://schemas.microsoft.com/office/drawing/2014/main" id="{F4826C9D-A37A-3221-A572-72BEC0D5C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62" y="2126149"/>
            <a:ext cx="2352675" cy="194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5658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524000" y="2819400"/>
            <a:ext cx="8839200" cy="158248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065" marR="5080" algn="ctr">
              <a:lnSpc>
                <a:spcPct val="100000"/>
              </a:lnSpc>
              <a:spcBef>
                <a:spcPts val="100"/>
              </a:spcBef>
              <a:tabLst>
                <a:tab pos="1009015" algn="l"/>
                <a:tab pos="1491615" algn="l"/>
                <a:tab pos="1621155" algn="l"/>
                <a:tab pos="2311400" algn="l"/>
                <a:tab pos="2915285" algn="l"/>
                <a:tab pos="3815079" algn="l"/>
                <a:tab pos="4108450" algn="l"/>
                <a:tab pos="5290820" algn="l"/>
              </a:tabLst>
            </a:pPr>
            <a:r>
              <a:rPr lang="en-US" sz="3400" i="0" spc="-10">
                <a:solidFill>
                  <a:srgbClr val="FFFFFF"/>
                </a:solidFill>
                <a:latin typeface="Poppins"/>
                <a:cs typeface="Poppins"/>
              </a:rPr>
              <a:t>MassDOT Municipal Grants </a:t>
            </a: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br>
              <a:rPr lang="en-US" sz="3400" b="0" i="0" spc="-10">
                <a:solidFill>
                  <a:srgbClr val="FFFFFF"/>
                </a:solidFill>
                <a:latin typeface="Poppins"/>
                <a:cs typeface="Poppins"/>
              </a:rPr>
            </a:br>
            <a:endParaRPr lang="en-US" sz="3400" b="0" i="0" noProof="0"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4" name="object 4" descr="Massachusetts Department of Transportation Logo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810240" y="5170697"/>
            <a:ext cx="2869097" cy="120526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24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F74C6A8-D275-C9DF-9110-3D2A4386DA4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2326" y="4060083"/>
            <a:ext cx="2256274" cy="16922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1FD03CE-0619-B98F-6575-AAA77FF1FA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About the Municipal Grants Engagement (MGE) Group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6E37ADE-88E2-89B0-F8EB-06DB4CF64B48}"/>
              </a:ext>
            </a:extLst>
          </p:cNvPr>
          <p:cNvSpPr txBox="1"/>
          <p:nvPr/>
        </p:nvSpPr>
        <p:spPr>
          <a:xfrm>
            <a:off x="760919" y="1447800"/>
            <a:ext cx="57912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MassDOT’s Municipal Grants Engagement Group’s mission is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</a:rPr>
              <a:t>connect municipalities with federal funding opportunitie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 to advance local and regional transportation needs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The group will als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</a:rPr>
              <a:t>provide technical assistance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to Massachusetts communities, with a focus on rural areas and Gateway Cities, to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Poppins"/>
              </a:rPr>
              <a:t>prepare projects for the receipt of federal funding, develop discretionary grant applications, and assist with coordination efforts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across MassDOT, municipalities, and our partner agencies.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625A83-3E74-A552-850A-B0E6A83FE5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0" y="2210504"/>
            <a:ext cx="2752197" cy="3669596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89CE190-E3EF-BEDD-7D1A-AF002E82DEB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81800" y="1478604"/>
            <a:ext cx="3124200" cy="2343150"/>
          </a:xfrm>
          <a:prstGeom prst="rect">
            <a:avLst/>
          </a:prstGeom>
          <a:ln w="285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030706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48D8B3-C3ED-A5AC-96D7-461C65811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F08785-96DC-FE45-11CE-8983A9983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>
                <a:latin typeface="+mj-lt"/>
              </a:rPr>
              <a:t>Municipal Grants Engagement Group Resourc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FCB4F8-F34B-57E0-18E0-99FCE4B04233}"/>
              </a:ext>
            </a:extLst>
          </p:cNvPr>
          <p:cNvSpPr txBox="1"/>
          <p:nvPr/>
        </p:nvSpPr>
        <p:spPr>
          <a:xfrm>
            <a:off x="914400" y="1201627"/>
            <a:ext cx="10744200" cy="5676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Eligibility Guidance / Program “Match Making:”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Assisting municipalities in determining eligibility for federal discretionary and formula funding programs and appropriate funding alternatives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cs typeface="Times New Roman" panose="02020603050405020304" pitchFamily="18" charset="0"/>
              </a:rPr>
              <a:t>Project Scoping Assistance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for early-stage planning activities, including but not limited to: Conceptual Designs/Sketch Plans;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</a:rPr>
              <a:t>Crash Diagrams &amp; Hot Spot Analysis; Road Safety Audits (RSAs); Traffic Impact Studies; Speed Studies; Existing Conditions &amp; Data Collection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.  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cs typeface="Times New Roman" panose="02020603050405020304" pitchFamily="18" charset="0"/>
              </a:rPr>
              <a:t>Grant Application Assistance (for Joint State and Municipal Priorities)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roviding technical assistance in drafting and reviewing grant applications, including project narratives, budgets, and responses to merit criteria.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</a:rPr>
              <a:t>Letters of Support: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</a:rPr>
              <a:t> </a:t>
            </a: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</a:rPr>
              <a:t>Drafting and issuing MassDOT letters of support for grant applications to demonstrate agency endorsement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cs typeface="Times New Roman" panose="02020603050405020304" pitchFamily="18" charset="0"/>
              </a:rPr>
              <a:t>Match Funding Coordination: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Advising on strategies to identify and secure local, state, or other match funding for federal grant applications. Coordinating with state funding programs to ensure alignment with grant application requirements.</a:t>
            </a:r>
            <a:endParaRPr kumimoji="0" lang="en-US" sz="1600" b="1" i="0" u="none" strike="noStrike" kern="1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Post-Award Support: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sz="16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Times New Roman" panose="02020603050405020304" pitchFamily="18" charset="0"/>
              </a:rPr>
              <a:t>Helping municipalities manage awarded grants, including guidance on reporting, documentation, and financial oversight to ensure compliance with grant terms. </a:t>
            </a: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Poppins"/>
              <a:ea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8817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 txBox="1">
            <a:spLocks/>
          </p:cNvSpPr>
          <p:nvPr/>
        </p:nvSpPr>
        <p:spPr>
          <a:xfrm>
            <a:off x="1757858" y="308199"/>
            <a:ext cx="6443670" cy="400050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</a:rPr>
              <a:t> Grant Central</a:t>
            </a:r>
            <a:endParaRPr kumimoji="0" lang="en-US" sz="4400" b="1" i="0" u="none" strike="noStrike" kern="120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0F1C72-FC3C-F5A9-152F-5C7045471EAF}"/>
              </a:ext>
            </a:extLst>
          </p:cNvPr>
          <p:cNvSpPr txBox="1"/>
          <p:nvPr/>
        </p:nvSpPr>
        <p:spPr>
          <a:xfrm>
            <a:off x="533400" y="4987394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unding Program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4D97BB-902B-C2CF-3723-F3B26914F8AF}"/>
              </a:ext>
            </a:extLst>
          </p:cNvPr>
          <p:cNvSpPr txBox="1"/>
          <p:nvPr/>
        </p:nvSpPr>
        <p:spPr>
          <a:xfrm>
            <a:off x="533400" y="5502481"/>
            <a:ext cx="356687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hapter 90 | Complete Streets | Local Bottleneck Reduction | Municipal Pavement | Municipal Small Bridge | Shared Streets and Spaces 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B14A3B-EE5F-2690-7897-83FEC4B23F0D}"/>
              </a:ext>
            </a:extLst>
          </p:cNvPr>
          <p:cNvSpPr txBox="1"/>
          <p:nvPr/>
        </p:nvSpPr>
        <p:spPr>
          <a:xfrm>
            <a:off x="5928307" y="5443066"/>
            <a:ext cx="356687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e Public | Municipal Officials | Regional Transit Authorities | MassDOT Staff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C48627-8CF1-8159-B271-659EBDEFD7F6}"/>
              </a:ext>
            </a:extLst>
          </p:cNvPr>
          <p:cNvSpPr txBox="1"/>
          <p:nvPr/>
        </p:nvSpPr>
        <p:spPr>
          <a:xfrm>
            <a:off x="6075405" y="4987393"/>
            <a:ext cx="3272674" cy="43294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Grant Central User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E989C8B-4F36-87C8-4599-5E70C62B4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22755" y="1659474"/>
            <a:ext cx="7199506" cy="34585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B1D150A-2697-9DAC-BB87-A0F4210A3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278" y="5118012"/>
            <a:ext cx="1739288" cy="137997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1B48F2-D255-BBE0-0463-2E720B4D684F}"/>
              </a:ext>
            </a:extLst>
          </p:cNvPr>
          <p:cNvSpPr txBox="1"/>
          <p:nvPr/>
        </p:nvSpPr>
        <p:spPr>
          <a:xfrm>
            <a:off x="6630953" y="6133422"/>
            <a:ext cx="2177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636 unique Municipal Users</a:t>
            </a:r>
          </a:p>
        </p:txBody>
      </p:sp>
    </p:spTree>
    <p:extLst>
      <p:ext uri="{BB962C8B-B14F-4D97-AF65-F5344CB8AC3E}">
        <p14:creationId xmlns:p14="http://schemas.microsoft.com/office/powerpoint/2010/main" val="29760250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group of text on a green and blue background&#10;&#10;Description automatically generated">
            <a:extLst>
              <a:ext uri="{FF2B5EF4-FFF2-40B4-BE49-F238E27FC236}">
                <a16:creationId xmlns:a16="http://schemas.microsoft.com/office/drawing/2014/main" id="{41E0D4D3-64AF-C4E8-E71B-860C607567BE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 rotWithShape="1">
          <a:blip r:embed="rId2"/>
          <a:srcRect t="10902" b="-1809"/>
          <a:stretch/>
        </p:blipFill>
        <p:spPr>
          <a:xfrm>
            <a:off x="293700" y="136524"/>
            <a:ext cx="11604599" cy="690592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84033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D6CB08D-A81D-25A4-89E5-3A303E5EA293}"/>
              </a:ext>
            </a:extLst>
          </p:cNvPr>
          <p:cNvSpPr txBox="1"/>
          <p:nvPr/>
        </p:nvSpPr>
        <p:spPr>
          <a:xfrm>
            <a:off x="4724400" y="1447800"/>
            <a:ext cx="518160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he MassDOT Safe Routes to School (SRTS) Program organizes events all year round to promote safe biking, walking, and rolling among students i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lementary, middle, and high school. You can learn more about these event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nd how to participate by scanning the QR code.</a:t>
            </a: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9AD94D1-9F0F-E33C-07C2-B48BE25794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447800"/>
            <a:ext cx="3429000" cy="51895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620A519-64CD-358E-EAFE-04D47AA120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7400" y="3810000"/>
            <a:ext cx="2047505" cy="19145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4DB2760-13B3-8BE7-1AEF-F40C5EE46A41}"/>
              </a:ext>
            </a:extLst>
          </p:cNvPr>
          <p:cNvSpPr txBox="1"/>
          <p:nvPr/>
        </p:nvSpPr>
        <p:spPr>
          <a:xfrm>
            <a:off x="609600" y="795891"/>
            <a:ext cx="1072182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afe Routes to School (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  <a:hlinkClick r:id="rId4"/>
              </a:rPr>
              <a:t>https://www.mass.gov/safe-routes-to-school</a:t>
            </a:r>
            <a:r>
              <a:rPr kumimoji="0" lang="en-US" sz="22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417078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914400" y="1439679"/>
            <a:ext cx="9906372" cy="4884921"/>
          </a:xfrm>
        </p:spPr>
        <p:txBody>
          <a:bodyPr vert="horz" wrap="square" lIns="91440" tIns="45720" rIns="91440" bIns="45720" rtlCol="0" anchor="t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/>
                <a:cs typeface="Poppins"/>
              </a:rPr>
              <a:t>Complete Streets</a:t>
            </a:r>
            <a:r>
              <a:rPr lang="en-US" sz="2000" b="0">
                <a:latin typeface="Poppins"/>
                <a:cs typeface="Poppins"/>
              </a:rPr>
              <a:t>: 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Results of the FY25 Round 1 were announced the week of January 13, 2025. The next Tier 3 application round opens in April, but we are always accepting Tier 1 and Tier 2 submissions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Shared Streets &amp; Spaces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January 13, 2025 was the last day to submit an application for this round. We anticipate the results of this application round to be announced in April 2025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Municipal Small Bridge Program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The FY25 application round closed on Monday, February 3, 2025. We anticipate the results of this application round to be announced in late April 2025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Local Bottleneck Reduction Program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MassDOT announced the results of the latest application round in early January and assigning designers to the awarded communities before the end of the month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>
                <a:latin typeface="Poppins" panose="00000500000000000000" pitchFamily="2" charset="0"/>
                <a:cs typeface="Poppins" panose="00000500000000000000" pitchFamily="2" charset="0"/>
              </a:rPr>
              <a:t>Safe Routes to School Signs &amp; Lines and Infrastructure Grants</a:t>
            </a:r>
            <a:r>
              <a:rPr lang="en-US" sz="2000" b="0">
                <a:latin typeface="Poppins" panose="00000500000000000000" pitchFamily="2" charset="0"/>
                <a:cs typeface="Poppins" panose="00000500000000000000" pitchFamily="2" charset="0"/>
              </a:rPr>
              <a:t>: Launching in late August or early September 2025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55600" indent="-3429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000" b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DD084B-D6CE-8549-975C-55C9DDBAB6C4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E386C"/>
                </a:solidFill>
                <a:effectLst/>
                <a:uLnTx/>
                <a:uFillTx/>
                <a:latin typeface="Arial"/>
                <a:cs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E386C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934453" y="715174"/>
            <a:ext cx="8741228" cy="692754"/>
          </a:xfrm>
        </p:spPr>
        <p:txBody>
          <a:bodyPr>
            <a:normAutofit/>
          </a:bodyPr>
          <a:lstStyle/>
          <a:p>
            <a:r>
              <a:rPr lang="en-US" b="1">
                <a:latin typeface="Poppins" panose="00000500000000000000" pitchFamily="2" charset="0"/>
                <a:cs typeface="Poppins" panose="00000500000000000000" pitchFamily="2" charset="0"/>
              </a:rPr>
              <a:t>Key Dates</a:t>
            </a:r>
          </a:p>
        </p:txBody>
      </p:sp>
    </p:spTree>
    <p:extLst>
      <p:ext uri="{BB962C8B-B14F-4D97-AF65-F5344CB8AC3E}">
        <p14:creationId xmlns:p14="http://schemas.microsoft.com/office/powerpoint/2010/main" val="40261005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28DBDA-F33E-29FC-D45A-E67BC60DE3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0FD9-022E-9C1D-88B8-9765012D3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685800"/>
            <a:ext cx="10199370" cy="461665"/>
          </a:xfrm>
        </p:spPr>
        <p:txBody>
          <a:bodyPr/>
          <a:lstStyle/>
          <a:p>
            <a:r>
              <a:rPr lang="en-US" i="0"/>
              <a:t>Resources and Contact Inform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08BA1D3-0E65-3BC6-D91C-CB5234571135}"/>
              </a:ext>
            </a:extLst>
          </p:cNvPr>
          <p:cNvSpPr txBox="1"/>
          <p:nvPr/>
        </p:nvSpPr>
        <p:spPr>
          <a:xfrm>
            <a:off x="685800" y="1524000"/>
            <a:ext cx="11049000" cy="4085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Derek Krevat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  <a:hlinkClick r:id="rId3"/>
              </a:rPr>
              <a:t>Derek.Krevat@dot.state.ma.u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</a:rPr>
              <a:t>Kristen (Pennucci) Rebelo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  <a:hlinkClick r:id="rId4"/>
              </a:rPr>
              <a:t>Kristen.E.Rebelo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cs typeface="Poppins" panose="00000500000000000000" pitchFamily="2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</a:rPr>
              <a:t>Grant Central: </a:t>
            </a:r>
            <a:r>
              <a:rPr kumimoji="0" lang="en-US" sz="24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cs typeface="Poppins" panose="00000500000000000000" pitchFamily="2" charset="0"/>
                <a:hlinkClick r:id="rId5"/>
              </a:rPr>
              <a:t>MassDOTGrantCenral@DOT.state.ma.us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cs typeface="Poppins" panose="00000500000000000000" pitchFamily="2" charset="0"/>
            </a:endParaRPr>
          </a:p>
          <a:p>
            <a:pPr marL="0" marR="0" lvl="0" indent="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Aptos" panose="020B0004020202020204" pitchFamily="34" charset="0"/>
              <a:cs typeface="Arial" panose="020B0604020202020204" pitchFamily="34" charset="0"/>
            </a:endParaRP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U.S. DOT 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https://www.transportation.gov/dot-navigator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Grants.gov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7"/>
              </a:rPr>
              <a:t>https://www.grants.gov/search-grants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marR="0" lvl="0" indent="-285750" defTabSz="91440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MA Federal Funds &amp; Infrastructure 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  <a:hlinkClick r:id="rId8"/>
              </a:rPr>
              <a:t>https://www.mass.gov/orgs/federal-funds-infrastructure-office</a:t>
            </a:r>
            <a:r>
              <a:rPr kumimoji="0" lang="en-US" sz="2400" b="0" i="0" u="none" strike="noStrike" kern="1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oppins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oppi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2611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8160736A-B9CE-C4DB-18B3-5554C8678C21}"/>
              </a:ext>
            </a:extLst>
          </p:cNvPr>
          <p:cNvSpPr/>
          <p:nvPr/>
        </p:nvSpPr>
        <p:spPr>
          <a:xfrm>
            <a:off x="1112345" y="1290319"/>
            <a:ext cx="7114101" cy="4605983"/>
          </a:xfrm>
          <a:prstGeom prst="rect">
            <a:avLst/>
          </a:prstGeom>
          <a:solidFill>
            <a:srgbClr val="00558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C30FD57-F6FE-49E8-314C-73BEAE96F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5895" y="1945364"/>
            <a:ext cx="5207000" cy="535531"/>
          </a:xfrm>
        </p:spPr>
        <p:txBody>
          <a:bodyPr/>
          <a:lstStyle/>
          <a:p>
            <a:pPr algn="ctr"/>
            <a:r>
              <a:rPr lang="en-US">
                <a:latin typeface="Arial"/>
                <a:cs typeface="Arial"/>
              </a:rPr>
              <a:t>Direct Pay Overview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546CC4-88B5-C03C-F5D4-906C8E12207F}"/>
              </a:ext>
            </a:extLst>
          </p:cNvPr>
          <p:cNvSpPr txBox="1"/>
          <p:nvPr/>
        </p:nvSpPr>
        <p:spPr>
          <a:xfrm>
            <a:off x="2375512" y="3092317"/>
            <a:ext cx="4587766" cy="100198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Governor's Office of Climate Innovation and Resilie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144BE3F-9739-C679-2557-3A0C290E6469}"/>
              </a:ext>
            </a:extLst>
          </p:cNvPr>
          <p:cNvSpPr txBox="1"/>
          <p:nvPr/>
        </p:nvSpPr>
        <p:spPr>
          <a:xfrm>
            <a:off x="1388313" y="4571255"/>
            <a:ext cx="6562164" cy="55399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onathan Schrag, Deputy Climate Chie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ernor’s Office of Climate Innovation and Resilience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96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FA9CFF-7E4D-FBE0-3EC2-06ACD776EC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/>
              <a:t>Agenda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6AD7064-0AC9-6E47-E86E-81BCD2E5523D}"/>
              </a:ext>
            </a:extLst>
          </p:cNvPr>
          <p:cNvSpPr txBox="1">
            <a:spLocks/>
          </p:cNvSpPr>
          <p:nvPr/>
        </p:nvSpPr>
        <p:spPr>
          <a:xfrm>
            <a:off x="4487235" y="1072563"/>
            <a:ext cx="7488237" cy="338328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marL="264795" marR="0" lvl="1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2E35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What is Direct Pay?</a:t>
            </a:r>
          </a:p>
          <a:p>
            <a:pPr marL="264795" marR="0" lvl="1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2E355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+mn-lt"/>
              </a:rPr>
              <a:t>Applicable Credits for Direct Pay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rgbClr val="2E355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  <a:p>
            <a:pPr marL="264795" marR="0" lvl="1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2E355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+mn-lt"/>
              </a:rPr>
              <a:t>Credit Amounts and Bonuses </a:t>
            </a:r>
          </a:p>
          <a:p>
            <a:pPr marL="264795" marR="0" lvl="1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2E3558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  <a:sym typeface="+mn-lt"/>
              </a:rPr>
              <a:t>2023 Projects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rgbClr val="2E355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  <a:p>
            <a:pPr marL="264795" marR="0" lvl="1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2E355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Helpful Resources</a:t>
            </a: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rgbClr val="2E3558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  <a:sym typeface="+mn-lt"/>
            </a:endParaRPr>
          </a:p>
          <a:p>
            <a:pPr marL="264795" marR="0" lvl="1" indent="-28575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/>
              <a:buChar char="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636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8162" y="1675082"/>
            <a:ext cx="11115675" cy="47397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400">
                <a:solidFill>
                  <a:srgbClr val="002060"/>
                </a:solidFill>
                <a:cs typeface="Calibri"/>
              </a:rPr>
              <a:t>The Inflation Reduction Act (IRA) makes the largest investment in clean energy in United States history, and much of that investment is delivered via </a:t>
            </a:r>
            <a:r>
              <a:rPr lang="en-US" sz="2400" b="1">
                <a:solidFill>
                  <a:srgbClr val="002060"/>
                </a:solidFill>
                <a:cs typeface="Calibri"/>
              </a:rPr>
              <a:t>tax incentives</a:t>
            </a:r>
            <a:r>
              <a:rPr lang="en-US" sz="2400">
                <a:solidFill>
                  <a:srgbClr val="002060"/>
                </a:solidFill>
                <a:cs typeface="Calibri"/>
              </a:rPr>
              <a:t>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  <a:defRPr/>
            </a:pPr>
            <a:r>
              <a:rPr lang="en-US" sz="2400">
                <a:solidFill>
                  <a:srgbClr val="002060"/>
                </a:solidFill>
                <a:cs typeface="Calibri"/>
              </a:rPr>
              <a:t>Under the IRA, tax-exempt and governmental entities – such as municipalities- that do not owe Federal income taxes are, for the first time, able to receive a payment equal to the full value of tax credits for building qualifying clean energy projects or making qualifying investments. This is called Direct Pay (also known as Elective Pay). 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400">
                <a:solidFill>
                  <a:srgbClr val="002060"/>
                </a:solidFill>
                <a:cs typeface="Calibri"/>
              </a:rPr>
              <a:t>By filing a return and using Direct Pay, these entities can receive a cash refund from the IRS for certain clean energy project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400" u="sng">
                <a:solidFill>
                  <a:srgbClr val="002060"/>
                </a:solidFill>
                <a:cs typeface="Calibri"/>
              </a:rPr>
              <a:t>Under current law</a:t>
            </a:r>
            <a:r>
              <a:rPr lang="en-US" sz="2400">
                <a:solidFill>
                  <a:srgbClr val="002060"/>
                </a:solidFill>
                <a:cs typeface="Calibri"/>
              </a:rPr>
              <a:t>, Direct Pay lasts for a decade; it applies to projects put into service January 1, 2023 through December 31, 2032 creating a decade of tax opportunity to save money on necessary infrastructure replacements and upgrades.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r>
              <a:rPr lang="en-US" sz="2400" b="1">
                <a:solidFill>
                  <a:srgbClr val="002060"/>
                </a:solidFill>
                <a:cs typeface="Calibri"/>
              </a:rPr>
              <a:t>The overall potential of these tax credits is unlimited. </a:t>
            </a:r>
            <a:r>
              <a:rPr lang="en-US" sz="2400">
                <a:solidFill>
                  <a:srgbClr val="002060"/>
                </a:solidFill>
                <a:cs typeface="Calibri"/>
              </a:rPr>
              <a:t>In most cases, the Investment Tax Credit results in a refund equal to 30% of the project investment. </a:t>
            </a:r>
          </a:p>
          <a:p>
            <a:pPr marL="342900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 panose="020B0604020202020204" pitchFamily="34" charset="0"/>
              <a:buChar char="§"/>
            </a:pPr>
            <a:endParaRPr lang="en-US" sz="24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What</a:t>
            </a: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/>
                <a:ea typeface="+mj-ea"/>
                <a:cs typeface="Calibri"/>
                <a:sym typeface="+mj-lt"/>
              </a:rPr>
              <a:t> is Direct Pay?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5861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C586B0-AF86-A515-AEE0-C8269027D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Agenda</a:t>
            </a:r>
          </a:p>
        </p:txBody>
      </p:sp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049C94AF-0C06-CB3D-9E4E-9BB94659432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7586692"/>
              </p:ext>
            </p:extLst>
          </p:nvPr>
        </p:nvGraphicFramePr>
        <p:xfrm>
          <a:off x="4925702" y="180975"/>
          <a:ext cx="7066273" cy="64381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80105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28E31F-A065-C958-0FE8-7169EE818C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cs typeface="Calibri"/>
              </a:rPr>
              <a:t>v</a:t>
            </a:r>
            <a:endParaRPr lang="en-US"/>
          </a:p>
        </p:txBody>
      </p:sp>
      <p:pic>
        <p:nvPicPr>
          <p:cNvPr id="7" name="Content Placeholder 5" descr="Diagram&#10;&#10;Description automatically generated">
            <a:extLst>
              <a:ext uri="{FF2B5EF4-FFF2-40B4-BE49-F238E27FC236}">
                <a16:creationId xmlns:a16="http://schemas.microsoft.com/office/drawing/2014/main" id="{145E7DFB-5FE9-F4C5-8E0C-4FA7AE2D44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923685"/>
            <a:ext cx="11176000" cy="4183793"/>
          </a:xfrm>
          <a:prstGeom prst="rect">
            <a:avLst/>
          </a:prstGeom>
        </p:spPr>
      </p:pic>
      <p:sp>
        <p:nvSpPr>
          <p:cNvPr id="8" name="Title 2">
            <a:extLst>
              <a:ext uri="{FF2B5EF4-FFF2-40B4-BE49-F238E27FC236}">
                <a16:creationId xmlns:a16="http://schemas.microsoft.com/office/drawing/2014/main" id="{1838C6B1-409E-E938-8798-07F41F13D76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Most relevant tax credits for municipalitie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67832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759" y="1059107"/>
            <a:ext cx="11115675" cy="47397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lvl="1" inden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None/>
              <a:defRPr/>
            </a:pPr>
            <a:endParaRPr lang="en-US" sz="2500">
              <a:solidFill>
                <a:srgbClr val="000000"/>
              </a:solidFill>
              <a:cs typeface="Calibri"/>
            </a:endParaRPr>
          </a:p>
          <a:p>
            <a:pPr marL="321945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/>
              <a:buChar char="§"/>
              <a:defRPr/>
            </a:pPr>
            <a:r>
              <a:rPr lang="en-US" sz="2500">
                <a:solidFill>
                  <a:srgbClr val="002060"/>
                </a:solidFill>
                <a:cs typeface="Calibri"/>
              </a:rPr>
              <a:t>The most common credit is the Investment Tax Credit (ITC). The amount of the ITC is calculated as a base credit of 6% on the investment basis of the project. </a:t>
            </a:r>
          </a:p>
          <a:p>
            <a:pPr marL="0" lvl="1" indent="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None/>
              <a:defRPr/>
            </a:pPr>
            <a:endParaRPr lang="en-US" sz="2500">
              <a:solidFill>
                <a:srgbClr val="002060"/>
              </a:solidFill>
              <a:cs typeface="Calibri"/>
            </a:endParaRPr>
          </a:p>
          <a:p>
            <a:pPr marL="321945" lvl="1" indent="-3429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Font typeface="Wingdings"/>
              <a:buChar char="§"/>
              <a:defRPr/>
            </a:pPr>
            <a:r>
              <a:rPr lang="en-US" sz="2500">
                <a:solidFill>
                  <a:srgbClr val="002060"/>
                </a:solidFill>
                <a:cs typeface="Calibri"/>
              </a:rPr>
              <a:t>For the replacement of existing municipal vehicle fleets with new electric vehicles, entities can receive up to $7,500 per light vehicle and up to $40,000 per larger vehicle.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Credit Amount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5915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8032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Some Basics on Bonuses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Please Note: Additional details apply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94CD1697-9F62-9CEF-36AE-D0BE6B767640}"/>
              </a:ext>
            </a:extLst>
          </p:cNvPr>
          <p:cNvGraphicFramePr/>
          <p:nvPr/>
        </p:nvGraphicFramePr>
        <p:xfrm>
          <a:off x="994901" y="1296254"/>
          <a:ext cx="10202197" cy="4639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6DB4F0D-08A6-577B-7B72-E204EDDCC24E}"/>
              </a:ext>
            </a:extLst>
          </p:cNvPr>
          <p:cNvSpPr txBox="1"/>
          <p:nvPr/>
        </p:nvSpPr>
        <p:spPr>
          <a:xfrm>
            <a:off x="479759" y="6100862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- On December,28, 2023, IRS issued new guidance on this rule for projects beginning in 2024 (see Notice 2024-9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FEAC6A-DCB7-23F7-C292-1AF8CC8AE542}"/>
              </a:ext>
            </a:extLst>
          </p:cNvPr>
          <p:cNvSpPr txBox="1"/>
          <p:nvPr/>
        </p:nvSpPr>
        <p:spPr>
          <a:xfrm>
            <a:off x="479759" y="6470194"/>
            <a:ext cx="109521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- Applicable for projects of a size &gt;1MW</a:t>
            </a:r>
          </a:p>
        </p:txBody>
      </p:sp>
    </p:spTree>
    <p:extLst>
      <p:ext uri="{BB962C8B-B14F-4D97-AF65-F5344CB8AC3E}">
        <p14:creationId xmlns:p14="http://schemas.microsoft.com/office/powerpoint/2010/main" val="2954961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64E9C5-56FA-FFFF-D52B-C238372BBC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675" y="2085628"/>
            <a:ext cx="11152446" cy="4368335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776820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accent1">
                    <a:lumMod val="50000"/>
                  </a:schemeClr>
                </a:solidFill>
                <a:latin typeface="+mn-lt"/>
              </a:rPr>
              <a:t>How Direct Pay Credits and Bonuses Affect a $2M Project</a:t>
            </a: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1D9BCD-1796-0A92-8C74-C2CF0069AD79}"/>
              </a:ext>
            </a:extLst>
          </p:cNvPr>
          <p:cNvSpPr txBox="1"/>
          <p:nvPr/>
        </p:nvSpPr>
        <p:spPr>
          <a:xfrm>
            <a:off x="447675" y="1602021"/>
            <a:ext cx="3086100" cy="3785652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>
                <a:solidFill>
                  <a:srgbClr val="00558C"/>
                </a:solidFill>
              </a:rPr>
              <a:t>Example</a:t>
            </a:r>
            <a:r>
              <a:rPr lang="en-US" sz="2400">
                <a:solidFill>
                  <a:srgbClr val="00558C"/>
                </a:solidFill>
              </a:rPr>
              <a:t>: </a:t>
            </a:r>
          </a:p>
          <a:p>
            <a:endParaRPr lang="en-US" sz="2400">
              <a:solidFill>
                <a:srgbClr val="00558C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00558C"/>
                </a:solidFill>
              </a:rPr>
              <a:t>A municipality with brownfield status installs microgrid with solar and energy storag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00558C"/>
                </a:solidFill>
              </a:rPr>
              <a:t>Eligible for an ITC (Energy ITC, Sec. 48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>
                <a:solidFill>
                  <a:srgbClr val="00558C"/>
                </a:solidFill>
              </a:rPr>
              <a:t>Project cost is $2M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6C8B8DD-AE06-8DF5-BABD-A68CA3F43ADC}"/>
              </a:ext>
            </a:extLst>
          </p:cNvPr>
          <p:cNvSpPr txBox="1"/>
          <p:nvPr/>
        </p:nvSpPr>
        <p:spPr>
          <a:xfrm>
            <a:off x="6634064" y="5153805"/>
            <a:ext cx="14089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$120,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088A2E-C33C-40CE-2395-9C5588F49DCE}"/>
              </a:ext>
            </a:extLst>
          </p:cNvPr>
          <p:cNvSpPr txBox="1"/>
          <p:nvPr/>
        </p:nvSpPr>
        <p:spPr>
          <a:xfrm>
            <a:off x="8866157" y="3198167"/>
            <a:ext cx="1353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</a:rPr>
              <a:t>$600,000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9CBF9771-7C61-AF77-CACB-BAACDC327D51}"/>
              </a:ext>
            </a:extLst>
          </p:cNvPr>
          <p:cNvGraphicFramePr/>
          <p:nvPr/>
        </p:nvGraphicFramePr>
        <p:xfrm>
          <a:off x="3710152" y="1282227"/>
          <a:ext cx="7031420" cy="5076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">
            <a:extLst>
              <a:ext uri="{FF2B5EF4-FFF2-40B4-BE49-F238E27FC236}">
                <a16:creationId xmlns:a16="http://schemas.microsoft.com/office/drawing/2014/main" id="{A09BC7EF-577F-FB51-BA55-628AD74067C8}"/>
              </a:ext>
            </a:extLst>
          </p:cNvPr>
          <p:cNvSpPr txBox="1"/>
          <p:nvPr/>
        </p:nvSpPr>
        <p:spPr>
          <a:xfrm>
            <a:off x="10108158" y="2266020"/>
            <a:ext cx="1888511" cy="1060894"/>
          </a:xfrm>
          <a:prstGeom prst="rect">
            <a:avLst/>
          </a:prstGeom>
          <a:solidFill>
            <a:schemeClr val="bg1"/>
          </a:solidFill>
          <a:ln>
            <a:solidFill>
              <a:srgbClr val="00558C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>
                <a:solidFill>
                  <a:srgbClr val="00558C"/>
                </a:solidFill>
              </a:rPr>
              <a:t>Town recoups 40% of project in tax credits</a:t>
            </a:r>
            <a:r>
              <a:rPr lang="en-US" sz="200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1811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30D87-E2AE-8F9C-537A-1E569BDF0B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828E44CB-ED49-2E7F-012F-B5287BB94085}"/>
              </a:ext>
            </a:extLst>
          </p:cNvPr>
          <p:cNvSpPr/>
          <p:nvPr/>
        </p:nvSpPr>
        <p:spPr>
          <a:xfrm>
            <a:off x="9304313" y="780870"/>
            <a:ext cx="1999019" cy="1672925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FFFF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91B6DB0A-CDCC-13A2-74AE-7875184E10A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8162" y="1675082"/>
            <a:ext cx="11115675" cy="4739786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436245" lvl="1" indent="-4572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AutoNum type="arabicPeriod"/>
              <a:defRPr/>
            </a:pPr>
            <a:endParaRPr lang="en-US">
              <a:cs typeface="Calibri" panose="020F0502020204030204"/>
            </a:endParaRPr>
          </a:p>
          <a:p>
            <a:pPr marL="436245" lvl="1" indent="-4572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AutoNum type="arabicPeriod"/>
              <a:defRPr/>
            </a:pPr>
            <a:endParaRPr lang="en-US" sz="11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262F9FCA-08A0-2DF1-841E-29304E26CB76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accent1">
                    <a:lumMod val="50000"/>
                  </a:schemeClr>
                </a:solidFill>
                <a:latin typeface="+mn-lt"/>
              </a:rPr>
              <a:t>The state’s process timeline for 2023 projects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D8EE0E-FB5A-3412-98A2-CA0E8D800A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930" y="2116057"/>
            <a:ext cx="11360317" cy="2620836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055D181E-F728-F7CB-7D38-DCE52A42CA61}"/>
              </a:ext>
            </a:extLst>
          </p:cNvPr>
          <p:cNvCxnSpPr/>
          <p:nvPr/>
        </p:nvCxnSpPr>
        <p:spPr>
          <a:xfrm flipH="1" flipV="1">
            <a:off x="3356759" y="4262252"/>
            <a:ext cx="5937" cy="866897"/>
          </a:xfrm>
          <a:prstGeom prst="straightConnector1">
            <a:avLst/>
          </a:prstGeom>
          <a:ln w="57150">
            <a:solidFill>
              <a:srgbClr val="4472C4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0F4D449-EDA5-D9FE-A533-8C0219348091}"/>
              </a:ext>
            </a:extLst>
          </p:cNvPr>
          <p:cNvCxnSpPr>
            <a:cxnSpLocks/>
          </p:cNvCxnSpPr>
          <p:nvPr/>
        </p:nvCxnSpPr>
        <p:spPr>
          <a:xfrm flipH="1" flipV="1">
            <a:off x="10303823" y="4262252"/>
            <a:ext cx="5937" cy="866897"/>
          </a:xfrm>
          <a:prstGeom prst="straightConnector1">
            <a:avLst/>
          </a:prstGeom>
          <a:ln w="57150">
            <a:solidFill>
              <a:srgbClr val="4472C4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95000D67-DC01-79F7-575D-A406CB80DE91}"/>
              </a:ext>
            </a:extLst>
          </p:cNvPr>
          <p:cNvCxnSpPr>
            <a:cxnSpLocks/>
          </p:cNvCxnSpPr>
          <p:nvPr/>
        </p:nvCxnSpPr>
        <p:spPr>
          <a:xfrm flipH="1" flipV="1">
            <a:off x="6206836" y="4262251"/>
            <a:ext cx="5937" cy="866897"/>
          </a:xfrm>
          <a:prstGeom prst="straightConnector1">
            <a:avLst/>
          </a:prstGeom>
          <a:ln w="57150">
            <a:solidFill>
              <a:srgbClr val="4472C4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635FB63F-14D4-6BC6-6DB8-F65673564126}"/>
              </a:ext>
            </a:extLst>
          </p:cNvPr>
          <p:cNvSpPr txBox="1"/>
          <p:nvPr/>
        </p:nvSpPr>
        <p:spPr>
          <a:xfrm>
            <a:off x="2196934" y="5195455"/>
            <a:ext cx="2444337" cy="7078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cs typeface="Calibri"/>
              </a:rPr>
              <a:t>Consult legal counsel and tax advisors</a:t>
            </a:r>
            <a:endParaRPr lang="en-US" sz="20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A7962A-2CEB-161B-D021-CD1B7FA00370}"/>
              </a:ext>
            </a:extLst>
          </p:cNvPr>
          <p:cNvSpPr txBox="1"/>
          <p:nvPr/>
        </p:nvSpPr>
        <p:spPr>
          <a:xfrm>
            <a:off x="8550233" y="5195455"/>
            <a:ext cx="3196440" cy="101566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cs typeface="Calibri"/>
              </a:rPr>
              <a:t>(1) Form 990-T</a:t>
            </a:r>
          </a:p>
          <a:p>
            <a:r>
              <a:rPr lang="en-US" sz="2000">
                <a:cs typeface="Calibri"/>
              </a:rPr>
              <a:t>(2) Form 3800</a:t>
            </a:r>
          </a:p>
          <a:p>
            <a:r>
              <a:rPr lang="en-US" sz="2000">
                <a:cs typeface="Calibri"/>
              </a:rPr>
              <a:t>(3) Applicable source form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C5E397B-4259-E6F5-1E5B-AFBD47FD009F}"/>
              </a:ext>
            </a:extLst>
          </p:cNvPr>
          <p:cNvSpPr txBox="1"/>
          <p:nvPr/>
        </p:nvSpPr>
        <p:spPr>
          <a:xfrm>
            <a:off x="5165764" y="5195454"/>
            <a:ext cx="2444337" cy="101566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cs typeface="Calibri"/>
              </a:rPr>
              <a:t>Gather necessary information for each qualifying project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5E662384-79E1-A256-16AC-0E9FCDF207CE}"/>
              </a:ext>
            </a:extLst>
          </p:cNvPr>
          <p:cNvCxnSpPr>
            <a:cxnSpLocks/>
          </p:cNvCxnSpPr>
          <p:nvPr/>
        </p:nvCxnSpPr>
        <p:spPr>
          <a:xfrm>
            <a:off x="6630987" y="2116057"/>
            <a:ext cx="0" cy="696611"/>
          </a:xfrm>
          <a:prstGeom prst="straightConnector1">
            <a:avLst/>
          </a:prstGeom>
          <a:ln w="57150">
            <a:solidFill>
              <a:srgbClr val="4472C4"/>
            </a:solidFill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3652D13A-BB7B-E55E-7E82-7135FB2B3DB2}"/>
              </a:ext>
            </a:extLst>
          </p:cNvPr>
          <p:cNvSpPr txBox="1"/>
          <p:nvPr/>
        </p:nvSpPr>
        <p:spPr>
          <a:xfrm>
            <a:off x="4621224" y="1378095"/>
            <a:ext cx="4019525" cy="70788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/>
              <a:t>IRS recommended date (120 days before filing deadline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12EDDB-B21A-26B0-CFBF-D9DC2A2A3E2E}"/>
              </a:ext>
            </a:extLst>
          </p:cNvPr>
          <p:cNvSpPr txBox="1"/>
          <p:nvPr/>
        </p:nvSpPr>
        <p:spPr>
          <a:xfrm>
            <a:off x="8948063" y="1545771"/>
            <a:ext cx="3048002" cy="400110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/>
              <a:t>Successfully filed on 11/14!</a:t>
            </a:r>
          </a:p>
        </p:txBody>
      </p:sp>
    </p:spTree>
    <p:extLst>
      <p:ext uri="{BB962C8B-B14F-4D97-AF65-F5344CB8AC3E}">
        <p14:creationId xmlns:p14="http://schemas.microsoft.com/office/powerpoint/2010/main" val="81220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EA1977-915D-45D9-7621-089E601F1B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endParaRPr lang="en-US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619BAB2-72B2-5600-C9B0-61627259AD1E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2023 Massachusetts Project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3044D5-9E36-BC02-C53B-66E921D12DE6}"/>
              </a:ext>
            </a:extLst>
          </p:cNvPr>
          <p:cNvSpPr txBox="1"/>
          <p:nvPr/>
        </p:nvSpPr>
        <p:spPr>
          <a:xfrm>
            <a:off x="479759" y="1417320"/>
            <a:ext cx="11206273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400"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In </a:t>
            </a:r>
            <a:r>
              <a:rPr lang="en-US" sz="2800">
                <a:solidFill>
                  <a:srgbClr val="002060"/>
                </a:solidFill>
                <a:latin typeface="Calibri" panose="020F0502020204030204"/>
                <a:cs typeface="Arial"/>
              </a:rPr>
              <a:t>November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, ANF successfully </a:t>
            </a:r>
            <a:r>
              <a:rPr lang="en-US" sz="2800">
                <a:solidFill>
                  <a:srgbClr val="002060"/>
                </a:solidFill>
                <a:latin typeface="Calibri" panose="020F0502020204030204"/>
                <a:cs typeface="Arial"/>
              </a:rPr>
              <a:t>filed </a:t>
            </a: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more than 80 Direct Pay-eligible projects with the IRS, including:  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2FDFC6B2-BD28-7787-DFEF-9DDE22945C1F}"/>
              </a:ext>
            </a:extLst>
          </p:cNvPr>
          <p:cNvGraphicFramePr/>
          <p:nvPr/>
        </p:nvGraphicFramePr>
        <p:xfrm>
          <a:off x="822960" y="2012575"/>
          <a:ext cx="10259568" cy="4700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8830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EA1977-915D-45D9-7621-089E601F1B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/>
          </a:bodyPr>
          <a:lstStyle/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658EB8-EF72-4FB6-2E0C-6DC61850D605}"/>
              </a:ext>
            </a:extLst>
          </p:cNvPr>
          <p:cNvSpPr txBox="1"/>
          <p:nvPr/>
        </p:nvSpPr>
        <p:spPr>
          <a:xfrm>
            <a:off x="319802" y="1124712"/>
            <a:ext cx="11552395" cy="53245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7345" marR="0" lvl="0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Identify projects in the pipeline with in-service dates of 2024 or later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: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4545" marR="0" lvl="1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Build an internal team by working with financial advisors and counsel to confirm eligibility, gather documentation, address key questions.</a:t>
            </a:r>
          </a:p>
          <a:p>
            <a:pPr marL="804545" marR="0" lvl="1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804545" marR="0" lvl="1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Complete pre-registration for each project in the IRS Pre-registration portal. This should be completed 120 days prior to the tax filing deadline.</a:t>
            </a:r>
          </a:p>
          <a:p>
            <a:pPr marL="804545" marR="0" lvl="1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804545" marR="0" lvl="1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File Tax Forms generally 4.5 months after the end of the tax period.</a:t>
            </a:r>
          </a:p>
          <a:p>
            <a:pPr marL="1261745" marR="0" lvl="2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May 15</a:t>
            </a:r>
            <a:r>
              <a:rPr kumimoji="0" lang="en-US" sz="2000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th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 for calendar year filers and November 15</a:t>
            </a:r>
            <a:r>
              <a:rPr kumimoji="0" lang="en-US" sz="2000" b="0" i="0" u="none" strike="noStrike" kern="1200" cap="none" spc="0" normalizeH="0" baseline="3000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th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 for fiscal year filers. 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Verdana"/>
              <a:cs typeface="Arial"/>
            </a:endParaRPr>
          </a:p>
          <a:p>
            <a:pPr marL="804545" marR="0" lvl="0" indent="-34734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2. Inventory capital needs (new construction, retrofits or vehicles) over the next deca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Verdana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Include tax credit value into real estate and vehicle fleet planning. 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Ensure architects, designers, and facilities managers are aware of tax credit opportunities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Verdana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/>
              <a:buChar char="§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3. Make a plan for how your municipality will get its share of refunds over the next deca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t>.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Verdana"/>
              <a:cs typeface="Arial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619BAB2-72B2-5600-C9B0-61627259AD1E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Next Steps for Elective Pay: 2024 Project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546A">
                  <a:lumMod val="10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61977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FF263B81-AE0C-F979-F8C5-BEB915E536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3734" y="1272311"/>
            <a:ext cx="11170103" cy="514255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Clr>
                <a:srgbClr val="1CADE4"/>
              </a:buClr>
              <a:buNone/>
              <a:defRPr/>
            </a:pPr>
            <a:endParaRPr lang="en-US" sz="2400">
              <a:ea typeface="+mn-lt"/>
              <a:cs typeface="+mn-lt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rId2"/>
              </a:rPr>
              <a:t>FFIO’s Direct Pay Information Page</a:t>
            </a:r>
            <a:endParaRPr lang="en-US" sz="2400">
              <a:ea typeface="+mn-lt"/>
              <a:cs typeface="+mn-lt"/>
              <a:hlinkClick r:id="rId3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  <a:hlinkClick r:id="rId3"/>
              </a:rPr>
              <a:t>Elect Pay Overview</a:t>
            </a:r>
            <a:r>
              <a:rPr lang="en-US" sz="2400">
                <a:ea typeface="+mn-lt"/>
                <a:cs typeface="+mn-lt"/>
              </a:rPr>
              <a:t> </a:t>
            </a: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P webinar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Direct Pay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Lawyers for Good Government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ective Pay resources</a:t>
            </a:r>
            <a:r>
              <a:rPr lang="en-US" sz="2400">
                <a:ea typeface="+mn-lt"/>
                <a:cs typeface="+mn-lt"/>
              </a:rPr>
              <a:t>, including worksheets on: </a:t>
            </a:r>
            <a:endParaRPr lang="en-US" sz="2400">
              <a:cs typeface="Calibri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Purchase</a:t>
            </a:r>
            <a:endParaRPr lang="en-US" sz="2400">
              <a:solidFill>
                <a:srgbClr val="0070C0"/>
              </a:solidFill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 Infrastructure</a:t>
            </a:r>
            <a:r>
              <a:rPr lang="en-US" sz="2400">
                <a:ea typeface="+mn-lt"/>
                <a:cs typeface="+mn-lt"/>
              </a:rPr>
              <a:t> 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cking</a:t>
            </a:r>
            <a:r>
              <a:rPr lang="en-US" sz="2400">
                <a:ea typeface="+mn-lt"/>
                <a:cs typeface="+mn-lt"/>
              </a:rPr>
              <a:t> ITC and PTC projects</a:t>
            </a:r>
            <a:endParaRPr lang="en-US" sz="2400">
              <a:cs typeface="Calibri" panose="020F0502020204030204"/>
            </a:endParaRPr>
          </a:p>
          <a:p>
            <a:pPr marL="800100" lvl="1" indent="-342900"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</a:t>
            </a:r>
            <a:r>
              <a:rPr lang="en-US" sz="2400">
                <a:ea typeface="+mn-lt"/>
                <a:cs typeface="+mn-lt"/>
              </a:rPr>
              <a:t> from a presentation to local governments (but provides overview of Direct Pay for all)</a:t>
            </a:r>
            <a:endParaRPr lang="en-US" sz="2400">
              <a:cs typeface="Calibri" panose="020F0502020204030204"/>
            </a:endParaRPr>
          </a:p>
          <a:p>
            <a:pPr>
              <a:defRPr/>
            </a:pPr>
            <a:r>
              <a:rPr lang="en-US" sz="2400">
                <a:ea typeface="+mn-lt"/>
                <a:cs typeface="+mn-lt"/>
              </a:rPr>
              <a:t>IRS 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 Tutorial</a:t>
            </a:r>
            <a:r>
              <a:rPr lang="en-US" sz="2400">
                <a:solidFill>
                  <a:srgbClr val="0070C0"/>
                </a:solidFill>
                <a:ea typeface="+mn-lt"/>
                <a:cs typeface="+mn-lt"/>
              </a:rPr>
              <a:t> </a:t>
            </a:r>
            <a:r>
              <a:rPr lang="en-US" sz="2400">
                <a:ea typeface="+mn-lt"/>
                <a:cs typeface="+mn-lt"/>
              </a:rPr>
              <a:t>on pre-registration</a:t>
            </a:r>
            <a:endParaRPr lang="en-US" sz="2400">
              <a:cs typeface="Calibri"/>
            </a:endParaRPr>
          </a:p>
          <a:p>
            <a:pPr>
              <a:defRPr/>
            </a:pPr>
            <a:r>
              <a:rPr lang="en-US" sz="2400">
                <a:solidFill>
                  <a:srgbClr val="0070C0"/>
                </a:solidFill>
                <a:ea typeface="+mn-lt"/>
                <a:cs typeface="+mn-lt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RS Q&amp;A</a:t>
            </a:r>
            <a:endParaRPr lang="en-US" sz="2400">
              <a:solidFill>
                <a:srgbClr val="0070C0"/>
              </a:solidFill>
            </a:endParaRPr>
          </a:p>
          <a:p>
            <a:pPr marL="436245" lvl="1" indent="-4572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AutoNum type="arabicPeriod"/>
              <a:defRPr/>
            </a:pPr>
            <a:endParaRPr lang="en-US" sz="1100">
              <a:cs typeface="Calibri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4137C472-56A4-98E5-4D62-8A8D466A58E8}"/>
              </a:ext>
            </a:extLst>
          </p:cNvPr>
          <p:cNvSpPr txBox="1">
            <a:spLocks/>
          </p:cNvSpPr>
          <p:nvPr/>
        </p:nvSpPr>
        <p:spPr>
          <a:xfrm>
            <a:off x="479759" y="327722"/>
            <a:ext cx="10117513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1200" cap="none" spc="0" normalizeH="0" baseline="0" noProof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  <a:sym typeface="+mj-lt"/>
              </a:rPr>
              <a:t>Helpful Resources</a:t>
            </a:r>
            <a:endParaRPr kumimoji="0" lang="en-US" sz="3400" b="1" i="0" u="none" strike="noStrike" kern="1200" cap="none" spc="0" normalizeH="0" baseline="0" noProof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  <a:sym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733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FF11DD-351A-7576-27E1-81C936A88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685" y="2764203"/>
            <a:ext cx="3280222" cy="1314311"/>
          </a:xfrm>
        </p:spPr>
        <p:txBody>
          <a:bodyPr/>
          <a:lstStyle/>
          <a:p>
            <a:r>
              <a:rPr lang="en-US">
                <a:cs typeface="Calibri Light"/>
              </a:rPr>
              <a:t>Thank you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75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0" y="0"/>
            <a:ext cx="8848082" cy="6858000"/>
            <a:chOff x="0" y="0"/>
            <a:chExt cx="3495539" cy="2709333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3495539" cy="2709333"/>
            </a:xfrm>
            <a:custGeom>
              <a:avLst/>
              <a:gdLst/>
              <a:ahLst/>
              <a:cxnLst/>
              <a:rect l="l" t="t" r="r" b="b"/>
              <a:pathLst>
                <a:path w="3495539" h="2709333">
                  <a:moveTo>
                    <a:pt x="0" y="0"/>
                  </a:moveTo>
                  <a:lnTo>
                    <a:pt x="3495539" y="0"/>
                  </a:lnTo>
                  <a:lnTo>
                    <a:pt x="3495539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3495539" cy="2747433"/>
            </a:xfrm>
            <a:prstGeom prst="rect">
              <a:avLst/>
            </a:prstGeom>
          </p:spPr>
          <p:txBody>
            <a:bodyPr lIns="50800" tIns="50800" rIns="50800" bIns="50800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1819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" name="Freeform 5"/>
          <p:cNvSpPr/>
          <p:nvPr/>
        </p:nvSpPr>
        <p:spPr>
          <a:xfrm>
            <a:off x="9381045" y="2300264"/>
            <a:ext cx="2257472" cy="2257472"/>
          </a:xfrm>
          <a:custGeom>
            <a:avLst/>
            <a:gdLst/>
            <a:ahLst/>
            <a:cxnLst/>
            <a:rect l="l" t="t" r="r" b="b"/>
            <a:pathLst>
              <a:path w="3386208" h="3386208">
                <a:moveTo>
                  <a:pt x="0" y="0"/>
                </a:moveTo>
                <a:lnTo>
                  <a:pt x="3386207" y="0"/>
                </a:lnTo>
                <a:lnTo>
                  <a:pt x="3386207" y="3386208"/>
                </a:lnTo>
                <a:lnTo>
                  <a:pt x="0" y="3386208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555366" y="602505"/>
            <a:ext cx="7737349" cy="18424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just" defTabSz="609630" rtl="0" eaLnBrk="1" fontAlgn="auto" latinLnBrk="0" hangingPunct="1">
              <a:lnSpc>
                <a:spcPts val="477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982" b="0" i="0" u="none" strike="noStrike" kern="1200" cap="none" spc="119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GrantWell: Simplifying Federal Grant Application Process With AI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555366" y="2703723"/>
            <a:ext cx="7737349" cy="4126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329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33" b="0" i="0" u="none" strike="noStrike" kern="1200" cap="none" spc="-17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I4Impact x Federal Funds and Infrastructure Office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5079252" y="5768193"/>
            <a:ext cx="3454959" cy="785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Jai Surya Kode</a:t>
            </a:r>
          </a:p>
          <a:p>
            <a:pPr marL="0" marR="0" lvl="0" indent="0" algn="r" defTabSz="609630" rtl="0" eaLnBrk="1" fontAlgn="auto" latinLnBrk="0" hangingPunct="1">
              <a:lnSpc>
                <a:spcPts val="308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77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DM Serif Display"/>
                <a:ea typeface="DM Serif Display"/>
                <a:cs typeface="DM Serif Display"/>
                <a:sym typeface="DM Serif Display"/>
              </a:rPr>
              <a:t>Anjith Prakash</a:t>
            </a:r>
          </a:p>
        </p:txBody>
      </p:sp>
      <p:sp>
        <p:nvSpPr>
          <p:cNvPr id="9" name="Freeform 9"/>
          <p:cNvSpPr/>
          <p:nvPr/>
        </p:nvSpPr>
        <p:spPr>
          <a:xfrm>
            <a:off x="180475" y="4955752"/>
            <a:ext cx="5148665" cy="1908513"/>
          </a:xfrm>
          <a:custGeom>
            <a:avLst/>
            <a:gdLst/>
            <a:ahLst/>
            <a:cxnLst/>
            <a:rect l="l" t="t" r="r" b="b"/>
            <a:pathLst>
              <a:path w="7722997" h="2862769">
                <a:moveTo>
                  <a:pt x="0" y="0"/>
                </a:moveTo>
                <a:lnTo>
                  <a:pt x="7722997" y="0"/>
                </a:lnTo>
                <a:lnTo>
                  <a:pt x="7722997" y="2862770"/>
                </a:lnTo>
                <a:lnTo>
                  <a:pt x="0" y="2862770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1086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7422F06-6017-4361-8872-E0E2CEB20B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48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8" y="643467"/>
            <a:ext cx="3415612" cy="5571066"/>
          </a:xfrm>
        </p:spPr>
        <p:txBody>
          <a:bodyPr>
            <a:normAutofit/>
          </a:bodyPr>
          <a:lstStyle/>
          <a:p>
            <a:r>
              <a:rPr lang="en-US" sz="4800">
                <a:solidFill>
                  <a:srgbClr val="FFFFFF"/>
                </a:solidFill>
              </a:rPr>
              <a:t>About the Federal Funds and Infrastructure Office (FFIO)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F2B637B5-D00B-A557-6589-7B39E41260D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1296162"/>
              </p:ext>
            </p:extLst>
          </p:nvPr>
        </p:nvGraphicFramePr>
        <p:xfrm>
          <a:off x="4837502" y="1245140"/>
          <a:ext cx="7243018" cy="54669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5068112" y="214009"/>
            <a:ext cx="67817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2560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fficially created by Executive Order No. 624, and tasked with implementing a whole-of-government to compete for federal funding by:</a:t>
            </a:r>
          </a:p>
        </p:txBody>
      </p:sp>
    </p:spTree>
    <p:extLst>
      <p:ext uri="{BB962C8B-B14F-4D97-AF65-F5344CB8AC3E}">
        <p14:creationId xmlns:p14="http://schemas.microsoft.com/office/powerpoint/2010/main" val="388023651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6427306" y="532945"/>
            <a:ext cx="1601565" cy="1601565"/>
            <a:chOff x="0" y="0"/>
            <a:chExt cx="6350000" cy="63500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2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4717790" y="4570635"/>
            <a:ext cx="3311081" cy="1527098"/>
            <a:chOff x="0" y="0"/>
            <a:chExt cx="13128008" cy="6054748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3128008" cy="6054748"/>
            </a:xfrm>
            <a:custGeom>
              <a:avLst/>
              <a:gdLst/>
              <a:ahLst/>
              <a:cxnLst/>
              <a:rect l="l" t="t" r="r" b="b"/>
              <a:pathLst>
                <a:path w="13128008" h="6054748">
                  <a:moveTo>
                    <a:pt x="10502406" y="6054748"/>
                  </a:moveTo>
                  <a:lnTo>
                    <a:pt x="2625602" y="6054748"/>
                  </a:lnTo>
                  <a:cubicBezTo>
                    <a:pt x="1176269" y="6054748"/>
                    <a:pt x="0" y="5512243"/>
                    <a:pt x="0" y="4843798"/>
                  </a:cubicBezTo>
                  <a:lnTo>
                    <a:pt x="0" y="1210950"/>
                  </a:lnTo>
                  <a:cubicBezTo>
                    <a:pt x="0" y="542505"/>
                    <a:pt x="1176269" y="0"/>
                    <a:pt x="2625602" y="0"/>
                  </a:cubicBezTo>
                  <a:lnTo>
                    <a:pt x="10502406" y="0"/>
                  </a:lnTo>
                  <a:cubicBezTo>
                    <a:pt x="11951739" y="0"/>
                    <a:pt x="13128008" y="542505"/>
                    <a:pt x="13128008" y="1210950"/>
                  </a:cubicBezTo>
                  <a:lnTo>
                    <a:pt x="13128008" y="4843798"/>
                  </a:lnTo>
                  <a:cubicBezTo>
                    <a:pt x="13128008" y="5512243"/>
                    <a:pt x="11951739" y="6054748"/>
                    <a:pt x="10502406" y="6054748"/>
                  </a:cubicBezTo>
                  <a:close/>
                </a:path>
              </a:pathLst>
            </a:custGeom>
            <a:blipFill>
              <a:blip r:embed="rId3"/>
              <a:stretch>
                <a:fillRect l="-45362" t="-10515" r="-53850" b="-42625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4717790" y="532945"/>
            <a:ext cx="1601565" cy="1601565"/>
            <a:chOff x="0" y="0"/>
            <a:chExt cx="6350000" cy="63500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4"/>
              <a:stretch>
                <a:fillRect l="-30853" t="-6587" r="-50223" b="-13910"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0" y="0"/>
            <a:ext cx="4203440" cy="6858000"/>
            <a:chOff x="0" y="0"/>
            <a:chExt cx="1660618" cy="2709333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660618" cy="2709333"/>
            </a:xfrm>
            <a:custGeom>
              <a:avLst/>
              <a:gdLst/>
              <a:ahLst/>
              <a:cxnLst/>
              <a:rect l="l" t="t" r="r" b="b"/>
              <a:pathLst>
                <a:path w="1660618" h="2709333">
                  <a:moveTo>
                    <a:pt x="0" y="0"/>
                  </a:moveTo>
                  <a:lnTo>
                    <a:pt x="1660618" y="0"/>
                  </a:lnTo>
                  <a:lnTo>
                    <a:pt x="1660618" y="2709333"/>
                  </a:lnTo>
                  <a:lnTo>
                    <a:pt x="0" y="2709333"/>
                  </a:lnTo>
                  <a:close/>
                </a:path>
              </a:pathLst>
            </a:custGeom>
            <a:solidFill>
              <a:srgbClr val="05659C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-38100"/>
              <a:ext cx="1660618" cy="274743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marL="0" marR="0" lvl="0" indent="0" algn="ctr" defTabSz="609630" rtl="0" eaLnBrk="1" fontAlgn="auto" latinLnBrk="0" hangingPunct="1">
                <a:lnSpc>
                  <a:spcPts val="21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" name="AutoShape 11"/>
          <p:cNvSpPr/>
          <p:nvPr/>
        </p:nvSpPr>
        <p:spPr>
          <a:xfrm flipV="1">
            <a:off x="685833" y="3858594"/>
            <a:ext cx="3051183" cy="6350"/>
          </a:xfrm>
          <a:prstGeom prst="line">
            <a:avLst/>
          </a:prstGeom>
          <a:ln w="47625" cap="flat">
            <a:solidFill>
              <a:srgbClr val="FEFEF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2" name="Group 12"/>
          <p:cNvGrpSpPr/>
          <p:nvPr/>
        </p:nvGrpSpPr>
        <p:grpSpPr>
          <a:xfrm>
            <a:off x="9117253" y="2678942"/>
            <a:ext cx="1601565" cy="1601565"/>
            <a:chOff x="0" y="0"/>
            <a:chExt cx="6350000" cy="6350000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solidFill>
              <a:srgbClr val="FFFFFF"/>
            </a:solidFill>
            <a:ln w="12700">
              <a:solidFill>
                <a:srgbClr val="000000"/>
              </a:solidFill>
            </a:ln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9072694" y="2650313"/>
            <a:ext cx="1658824" cy="1658824"/>
            <a:chOff x="0" y="0"/>
            <a:chExt cx="6350000" cy="63500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350000" cy="6350000"/>
            </a:xfrm>
            <a:custGeom>
              <a:avLst/>
              <a:gdLst/>
              <a:ahLst/>
              <a:cxnLst/>
              <a:rect l="l" t="t" r="r" b="b"/>
              <a:pathLst>
                <a:path w="6350000" h="6350000">
                  <a:moveTo>
                    <a:pt x="5080000" y="6350000"/>
                  </a:moveTo>
                  <a:lnTo>
                    <a:pt x="1270000" y="6350000"/>
                  </a:lnTo>
                  <a:cubicBezTo>
                    <a:pt x="568960" y="6350000"/>
                    <a:pt x="0" y="5781040"/>
                    <a:pt x="0" y="5080000"/>
                  </a:cubicBezTo>
                  <a:lnTo>
                    <a:pt x="0" y="1270000"/>
                  </a:lnTo>
                  <a:cubicBezTo>
                    <a:pt x="0" y="568960"/>
                    <a:pt x="568960" y="0"/>
                    <a:pt x="1270000" y="0"/>
                  </a:cubicBezTo>
                  <a:lnTo>
                    <a:pt x="5080000" y="0"/>
                  </a:lnTo>
                  <a:cubicBezTo>
                    <a:pt x="5781040" y="0"/>
                    <a:pt x="6350000" y="568960"/>
                    <a:pt x="6350000" y="1270000"/>
                  </a:cubicBezTo>
                  <a:lnTo>
                    <a:pt x="6350000" y="5080000"/>
                  </a:lnTo>
                  <a:cubicBezTo>
                    <a:pt x="6350000" y="5781040"/>
                    <a:pt x="5781040" y="6350000"/>
                    <a:pt x="5080000" y="6350000"/>
                  </a:cubicBezTo>
                  <a:close/>
                </a:path>
              </a:pathLst>
            </a:custGeom>
            <a:blipFill>
              <a:blip r:embed="rId5"/>
              <a:stretch>
                <a:fillRect/>
              </a:stretch>
            </a:blip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6" name="TextBox 16"/>
          <p:cNvSpPr txBox="1"/>
          <p:nvPr/>
        </p:nvSpPr>
        <p:spPr>
          <a:xfrm>
            <a:off x="685800" y="3041650"/>
            <a:ext cx="3681980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bout us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8288189" y="717139"/>
            <a:ext cx="3370603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We are student researchers from Northeastern University working on this project as part of AI4Impact program.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4645408" y="2710736"/>
            <a:ext cx="3455845" cy="12094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AI4Impact partners state agencies and Northeastern University to develop innovative, sustainable, and impactful AI-driven solutions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8430919" y="4717595"/>
            <a:ext cx="3370603" cy="9016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244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3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 Bold"/>
                <a:ea typeface="Canva Sans Bold"/>
                <a:cs typeface="Canva Sans Bold"/>
                <a:sym typeface="Canva Sans Bold"/>
              </a:rPr>
              <a:t>GrantWell is a free, public AI-enabled grant-writing tool designed to streamline the application process.</a:t>
            </a:r>
          </a:p>
        </p:txBody>
      </p:sp>
    </p:spTree>
    <p:extLst>
      <p:ext uri="{BB962C8B-B14F-4D97-AF65-F5344CB8AC3E}">
        <p14:creationId xmlns:p14="http://schemas.microsoft.com/office/powerpoint/2010/main" val="11706112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1711985" y="6475809"/>
            <a:ext cx="333828" cy="297911"/>
          </a:xfrm>
          <a:custGeom>
            <a:avLst/>
            <a:gdLst/>
            <a:ahLst/>
            <a:cxnLst/>
            <a:rect l="l" t="t" r="r" b="b"/>
            <a:pathLst>
              <a:path w="500742" h="446866">
                <a:moveTo>
                  <a:pt x="0" y="0"/>
                </a:moveTo>
                <a:lnTo>
                  <a:pt x="500742" y="0"/>
                </a:lnTo>
                <a:lnTo>
                  <a:pt x="500742" y="446866"/>
                </a:lnTo>
                <a:lnTo>
                  <a:pt x="0" y="446866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 r="-168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3" descr="Grantwell_Edited.mp4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rcRect/>
          <a:stretch>
            <a:fillRect/>
          </a:stretch>
        </p:blipFill>
        <p:spPr>
          <a:xfrm>
            <a:off x="0" y="-1905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76703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FE3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262228" y="542363"/>
            <a:ext cx="9667546" cy="15388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59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 Pro Bold"/>
                <a:ea typeface="Georgia Pro Bold"/>
                <a:cs typeface="Georgia Pro Bold"/>
                <a:sym typeface="Georgia Pro Bold"/>
              </a:rPr>
              <a:t>We would like to hear from you!</a:t>
            </a:r>
          </a:p>
        </p:txBody>
      </p:sp>
      <p:sp>
        <p:nvSpPr>
          <p:cNvPr id="3" name="AutoShape 3"/>
          <p:cNvSpPr/>
          <p:nvPr/>
        </p:nvSpPr>
        <p:spPr>
          <a:xfrm>
            <a:off x="1500125" y="2442203"/>
            <a:ext cx="9667546" cy="0"/>
          </a:xfrm>
          <a:prstGeom prst="line">
            <a:avLst/>
          </a:prstGeom>
          <a:ln w="76200" cap="flat">
            <a:solidFill>
              <a:srgbClr val="05659C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8519869" y="3638163"/>
            <a:ext cx="2855077" cy="150092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tools do you use to assist in grant writing?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836964" y="3714610"/>
            <a:ext cx="3145805" cy="9879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1D1D1D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Do you want to help us build GrantWell?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4636017" y="3387338"/>
            <a:ext cx="3035551" cy="201388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6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hat challenges do you face when applying for federal grants?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0" y="6364473"/>
            <a:ext cx="12192000" cy="605200"/>
            <a:chOff x="0" y="0"/>
            <a:chExt cx="24384000" cy="121040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24384000" cy="1210437"/>
            </a:xfrm>
            <a:custGeom>
              <a:avLst/>
              <a:gdLst/>
              <a:ahLst/>
              <a:cxnLst/>
              <a:rect l="l" t="t" r="r" b="b"/>
              <a:pathLst>
                <a:path w="24384000" h="1210437">
                  <a:moveTo>
                    <a:pt x="0" y="0"/>
                  </a:moveTo>
                  <a:lnTo>
                    <a:pt x="24384000" y="0"/>
                  </a:lnTo>
                  <a:lnTo>
                    <a:pt x="24384000" y="1210437"/>
                  </a:lnTo>
                  <a:lnTo>
                    <a:pt x="0" y="1210437"/>
                  </a:lnTo>
                  <a:close/>
                </a:path>
              </a:pathLst>
            </a:custGeom>
            <a:solidFill>
              <a:srgbClr val="1D1D1D"/>
            </a:solidFill>
          </p:spPr>
          <p:txBody>
            <a:bodyPr/>
            <a:lstStyle/>
            <a:p>
              <a:pPr marL="0" marR="0" lvl="0" indent="0" algn="l" defTabSz="60963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TextBox 9"/>
          <p:cNvSpPr txBox="1"/>
          <p:nvPr/>
        </p:nvSpPr>
        <p:spPr>
          <a:xfrm>
            <a:off x="167534" y="6498316"/>
            <a:ext cx="4468483" cy="2041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ts val="168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CFCFC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Jai Surya Kode | Anjith Prakash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9740132" y="6562297"/>
            <a:ext cx="1863196" cy="1492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ts val="1199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nva Sans"/>
                <a:ea typeface="Canva Sans"/>
                <a:cs typeface="Canva Sans"/>
                <a:sym typeface="Canva Sans"/>
              </a:rPr>
              <a:t>www.burnes.northeastern.edu</a:t>
            </a:r>
          </a:p>
        </p:txBody>
      </p:sp>
      <p:sp>
        <p:nvSpPr>
          <p:cNvPr id="11" name="Freeform 11"/>
          <p:cNvSpPr/>
          <p:nvPr/>
        </p:nvSpPr>
        <p:spPr>
          <a:xfrm>
            <a:off x="11778421" y="6516091"/>
            <a:ext cx="222552" cy="198607"/>
          </a:xfrm>
          <a:custGeom>
            <a:avLst/>
            <a:gdLst/>
            <a:ahLst/>
            <a:cxnLst/>
            <a:rect l="l" t="t" r="r" b="b"/>
            <a:pathLst>
              <a:path w="333828" h="297911">
                <a:moveTo>
                  <a:pt x="0" y="0"/>
                </a:moveTo>
                <a:lnTo>
                  <a:pt x="333828" y="0"/>
                </a:lnTo>
                <a:lnTo>
                  <a:pt x="333828" y="297910"/>
                </a:lnTo>
                <a:lnTo>
                  <a:pt x="0" y="297910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 r="-168"/>
            </a:stretch>
          </a:blipFill>
        </p:spPr>
        <p:txBody>
          <a:bodyPr/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1777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B524404-AC58-B107-08B0-88EB4D3A1B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523687AF-550B-476A-A9D6-CFF241244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51B656-3EF5-F473-6CFD-2CA576D81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0A227B7-ED4A-B958-C6AD-3A62852E1EDD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Successful Grant Applications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EDCF3992-6CB3-6352-7C52-579A745F62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2241040"/>
              </p:ext>
            </p:extLst>
          </p:nvPr>
        </p:nvGraphicFramePr>
        <p:xfrm>
          <a:off x="4279900" y="643467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0600190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7200"/>
              <a:t>Municipal needs survey</a:t>
            </a:r>
            <a:endParaRPr lang="en-US" sz="24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97732" y="1871533"/>
            <a:ext cx="5900063" cy="3549708"/>
          </a:xfrm>
        </p:spPr>
        <p:txBody>
          <a:bodyPr>
            <a:normAutofit/>
          </a:bodyPr>
          <a:lstStyle/>
          <a:p>
            <a:r>
              <a:rPr lang="en-US" sz="2800" b="1"/>
              <a:t>Please take 5 minutes to fill out this form and help us learn more about how our office can support you to best leverage available and upcoming federal funding opportunities!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7523544" y="1756063"/>
            <a:ext cx="4309230" cy="462158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pic>
        <p:nvPicPr>
          <p:cNvPr id="6" name="Picture 5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582481FE-B35C-47F1-BD27-496FB57B0C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273" y="2208705"/>
            <a:ext cx="3831772" cy="383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03385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205487-8A0D-96A9-56C4-56A210D08D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8182" y="371917"/>
            <a:ext cx="9720072" cy="149961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8800"/>
              <a:t>Discussion and </a:t>
            </a:r>
            <a:r>
              <a:rPr lang="en-US" sz="8800" err="1"/>
              <a:t>q&amp;a</a:t>
            </a:r>
            <a:r>
              <a:rPr lang="en-US" sz="8800"/>
              <a:t> </a:t>
            </a:r>
            <a:endParaRPr lang="en-US" sz="280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CFEDE8-2F1D-DC67-361A-BB38DBDA43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29284" y="1564495"/>
            <a:ext cx="4754880" cy="822960"/>
          </a:xfrm>
        </p:spPr>
        <p:txBody>
          <a:bodyPr/>
          <a:lstStyle/>
          <a:p>
            <a:r>
              <a:rPr lang="en-US"/>
              <a:t>As a reminder, we can help with: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BB1480-771C-44D3-2C18-C1AB8111855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-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5D139B-4FAB-98CF-E152-E90B02C0E5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137626" y="1739617"/>
            <a:ext cx="3701144" cy="822960"/>
          </a:xfrm>
        </p:spPr>
        <p:txBody>
          <a:bodyPr/>
          <a:lstStyle/>
          <a:p>
            <a:r>
              <a:rPr lang="en-US"/>
              <a:t>Helpful information for us: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CB9C786-8D61-066C-8D9F-5A519C1F3E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137626" y="2387455"/>
            <a:ext cx="3831772" cy="3661612"/>
          </a:xfrm>
        </p:spPr>
        <p:txBody>
          <a:bodyPr>
            <a:normAutofit fontScale="92500" lnSpcReduction="20000"/>
          </a:bodyPr>
          <a:lstStyle/>
          <a:p>
            <a:r>
              <a:rPr lang="en-US"/>
              <a:t>-Are there any upcoming grants you are preparing for? Developing applications?</a:t>
            </a:r>
          </a:p>
          <a:p>
            <a:r>
              <a:rPr lang="en-US"/>
              <a:t>- What kind of technical assistance on these grants would be the most helpful for you?</a:t>
            </a:r>
          </a:p>
          <a:p>
            <a:r>
              <a:rPr lang="en-US"/>
              <a:t>- Do you have any applications pending or stuck?</a:t>
            </a:r>
          </a:p>
          <a:p>
            <a:r>
              <a:rPr lang="en-US"/>
              <a:t>-Are you looking for partners/co-applicants?</a:t>
            </a:r>
          </a:p>
          <a:p>
            <a:r>
              <a:rPr lang="en-US"/>
              <a:t>-Looking for gap financing for projects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BD17A5-BA15-A055-8A50-B87A35D919F0}"/>
              </a:ext>
            </a:extLst>
          </p:cNvPr>
          <p:cNvSpPr txBox="1"/>
          <p:nvPr/>
        </p:nvSpPr>
        <p:spPr>
          <a:xfrm>
            <a:off x="8137626" y="5637807"/>
            <a:ext cx="3347768" cy="795867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ADE4"/>
              </a:buClr>
              <a:buSzTx/>
              <a:buFontTx/>
              <a:buNone/>
              <a:tabLst/>
              <a:defRPr/>
            </a:pPr>
            <a:r>
              <a:rPr lang="en-US" sz="1600" i="1">
                <a:solidFill>
                  <a:prstClr val="black"/>
                </a:solidFill>
                <a:latin typeface="Tw Cen MT" panose="020B0602020104020603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ach us anytime at: 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dFundsInfra@mass.gov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.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1EF08E1-A1B7-A191-8DB4-3C5797A00B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2936507"/>
              </p:ext>
            </p:extLst>
          </p:nvPr>
        </p:nvGraphicFramePr>
        <p:xfrm>
          <a:off x="1168182" y="2178570"/>
          <a:ext cx="6440932" cy="4255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F5EDDBA-8D94-FEFE-2099-EC25227C992A}"/>
              </a:ext>
            </a:extLst>
          </p:cNvPr>
          <p:cNvSpPr/>
          <p:nvPr/>
        </p:nvSpPr>
        <p:spPr>
          <a:xfrm>
            <a:off x="8066315" y="1756065"/>
            <a:ext cx="3831772" cy="4553296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81659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F3788A7-E47C-B5CE-4257-1F649836DE48}"/>
              </a:ext>
            </a:extLst>
          </p:cNvPr>
          <p:cNvSpPr txBox="1"/>
          <p:nvPr/>
        </p:nvSpPr>
        <p:spPr>
          <a:xfrm>
            <a:off x="257140" y="296983"/>
            <a:ext cx="2980735" cy="35394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800" b="1">
                <a:solidFill>
                  <a:srgbClr val="1CADE4"/>
                </a:solidFill>
              </a:rPr>
              <a:t>Please join us for our office hours, bring your questions, and discuss priority projects! Feel free to move around tables!</a:t>
            </a:r>
            <a:endParaRPr lang="en-US" sz="2800" b="1">
              <a:solidFill>
                <a:srgbClr val="1CADE4"/>
              </a:solidFill>
              <a:highlight>
                <a:srgbClr val="FFFF00"/>
              </a:highlight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134FC3F4-DAD6-738E-34C0-657016163671}"/>
              </a:ext>
            </a:extLst>
          </p:cNvPr>
          <p:cNvSpPr txBox="1">
            <a:spLocks/>
          </p:cNvSpPr>
          <p:nvPr/>
        </p:nvSpPr>
        <p:spPr>
          <a:xfrm>
            <a:off x="4144888" y="4431691"/>
            <a:ext cx="2877556" cy="2876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6600">
                <a:solidFill>
                  <a:schemeClr val="tx1"/>
                </a:solidFill>
              </a:rPr>
              <a:t>Office hours</a:t>
            </a:r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8" name="Graphic 7" descr="Meeting outline">
            <a:extLst>
              <a:ext uri="{FF2B5EF4-FFF2-40B4-BE49-F238E27FC236}">
                <a16:creationId xmlns:a16="http://schemas.microsoft.com/office/drawing/2014/main" id="{CCCCF25A-2A8A-9F0F-E7CE-C6B19E6713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27641" y="772975"/>
            <a:ext cx="5312050" cy="53120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985F677-A1F9-8F44-9A05-DCDFD636795C}"/>
              </a:ext>
            </a:extLst>
          </p:cNvPr>
          <p:cNvSpPr txBox="1"/>
          <p:nvPr/>
        </p:nvSpPr>
        <p:spPr>
          <a:xfrm>
            <a:off x="9408872" y="2857370"/>
            <a:ext cx="289180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Tech/</a:t>
            </a:r>
          </a:p>
          <a:p>
            <a:r>
              <a:rPr lang="en-US" sz="2800" b="1">
                <a:solidFill>
                  <a:schemeClr val="accent2"/>
                </a:solidFill>
              </a:rPr>
              <a:t>Economic Development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E3408A6-3D3D-C3C8-66DB-717F76F266B6}"/>
              </a:ext>
            </a:extLst>
          </p:cNvPr>
          <p:cNvSpPr txBox="1"/>
          <p:nvPr/>
        </p:nvSpPr>
        <p:spPr>
          <a:xfrm>
            <a:off x="9408872" y="660114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Transportation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4" name="Graphic 23" descr="Dump truck outline">
            <a:extLst>
              <a:ext uri="{FF2B5EF4-FFF2-40B4-BE49-F238E27FC236}">
                <a16:creationId xmlns:a16="http://schemas.microsoft.com/office/drawing/2014/main" id="{0E40C948-516B-5A96-CB45-4B1E514CCCB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05646" y="456995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A8E3E83-0A13-9A08-9C7A-0BF7CF41FAD1}"/>
              </a:ext>
            </a:extLst>
          </p:cNvPr>
          <p:cNvSpPr txBox="1"/>
          <p:nvPr/>
        </p:nvSpPr>
        <p:spPr>
          <a:xfrm>
            <a:off x="9408872" y="1581725"/>
            <a:ext cx="229714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Climate and Resiliency</a:t>
            </a:r>
            <a:endParaRPr lang="en-US" sz="2800" b="1">
              <a:solidFill>
                <a:schemeClr val="accent2"/>
              </a:solidFill>
              <a:highlight>
                <a:srgbClr val="FFFF00"/>
              </a:highlight>
            </a:endParaRPr>
          </a:p>
        </p:txBody>
      </p:sp>
      <p:pic>
        <p:nvPicPr>
          <p:cNvPr id="26" name="Graphic 25" descr="Sustainability outline">
            <a:extLst>
              <a:ext uri="{FF2B5EF4-FFF2-40B4-BE49-F238E27FC236}">
                <a16:creationId xmlns:a16="http://schemas.microsoft.com/office/drawing/2014/main" id="{A5C7F27F-8EF8-15BC-BBCB-A51046B07B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0655" y="1601580"/>
            <a:ext cx="914399" cy="91439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98DE8B0-12D1-D134-F268-16B7F60CA029}"/>
              </a:ext>
            </a:extLst>
          </p:cNvPr>
          <p:cNvSpPr txBox="1"/>
          <p:nvPr/>
        </p:nvSpPr>
        <p:spPr>
          <a:xfrm>
            <a:off x="9408872" y="4577823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Direct Pay</a:t>
            </a:r>
          </a:p>
        </p:txBody>
      </p:sp>
      <p:pic>
        <p:nvPicPr>
          <p:cNvPr id="31" name="Graphic 30" descr="Tax outline">
            <a:extLst>
              <a:ext uri="{FF2B5EF4-FFF2-40B4-BE49-F238E27FC236}">
                <a16:creationId xmlns:a16="http://schemas.microsoft.com/office/drawing/2014/main" id="{10C83EFA-B11F-A834-4FB7-1ECFBA9C5E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56238" y="4317315"/>
            <a:ext cx="914400" cy="9144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DFFF345-756C-4593-9810-3C232BD81C18}"/>
              </a:ext>
            </a:extLst>
          </p:cNvPr>
          <p:cNvSpPr txBox="1"/>
          <p:nvPr/>
        </p:nvSpPr>
        <p:spPr>
          <a:xfrm>
            <a:off x="9408872" y="5681897"/>
            <a:ext cx="255296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accent2"/>
                </a:solidFill>
              </a:rPr>
              <a:t>Priority Projects</a:t>
            </a:r>
          </a:p>
        </p:txBody>
      </p:sp>
      <p:pic>
        <p:nvPicPr>
          <p:cNvPr id="34" name="Graphic 33" descr="Blueprint with solid fill">
            <a:extLst>
              <a:ext uri="{FF2B5EF4-FFF2-40B4-BE49-F238E27FC236}">
                <a16:creationId xmlns:a16="http://schemas.microsoft.com/office/drawing/2014/main" id="{C1EC7EFC-965B-494A-88A8-0DE8164968D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41246" y="5491370"/>
            <a:ext cx="863808" cy="863808"/>
          </a:xfrm>
          <a:prstGeom prst="rect">
            <a:avLst/>
          </a:prstGeom>
        </p:spPr>
      </p:pic>
      <p:pic>
        <p:nvPicPr>
          <p:cNvPr id="3" name="Graphic 2" descr="Wireless router with solid fill">
            <a:extLst>
              <a:ext uri="{FF2B5EF4-FFF2-40B4-BE49-F238E27FC236}">
                <a16:creationId xmlns:a16="http://schemas.microsoft.com/office/drawing/2014/main" id="{68007EA9-93EC-3476-E482-0255934B391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292917" y="2869256"/>
            <a:ext cx="1115955" cy="1115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4674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BE194971-2F2D-44B0-8AE6-FF2DCCEE0A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1FF9A61E-EB11-4C46-82E1-3E00A3B4B4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564EB3-35F2-4EFF-87DC-642DC0205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6A5AB136-1321-47B3-8AF9-A8140222B1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EFB9A7-C8DD-7F1A-F23E-02E2D28F5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Local Government Engagem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29AB2E-91A6-4F11-8765-A410A0139E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8846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0490" y="258416"/>
            <a:ext cx="7026223" cy="2716795"/>
          </a:xfrm>
          <a:prstGeom prst="roundRect">
            <a:avLst/>
          </a:prstGeom>
          <a:solidFill>
            <a:schemeClr val="accent6">
              <a:lumMod val="20000"/>
              <a:lumOff val="80000"/>
              <a:alpha val="35822"/>
            </a:schemeClr>
          </a:solidFill>
          <a:ln>
            <a:noFill/>
          </a:ln>
        </p:spPr>
        <p:txBody>
          <a:bodyPr vert="horz" lIns="45720" tIns="45720" rIns="45720" bIns="45720" rtlCol="0" anchor="ctr">
            <a:normAutofit/>
          </a:bodyPr>
          <a:lstStyle/>
          <a:p>
            <a:pPr marL="0" indent="0">
              <a:buNone/>
            </a:pPr>
            <a:r>
              <a:rPr lang="en-IN" sz="2400" b="1"/>
              <a:t>The Partnership provides key federal grant information to the local governments of MA. </a:t>
            </a:r>
          </a:p>
          <a:p>
            <a:pPr marL="0" indent="0">
              <a:buNone/>
            </a:pPr>
            <a:r>
              <a:rPr lang="en-IN" sz="2000"/>
              <a:t>FFIO leads the monthly Massachusetts Federal Funds Partnership meeting. This forum delivers federal funding updates and offers a platform for addressing questions related to the many funding opportunities at the disposal of cities, towns and tribal organizations.</a:t>
            </a:r>
            <a:endParaRPr lang="en-US" sz="20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Massachusetts Federal funds partnership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99D162D-B2EC-B50A-919C-1363298DF8EA}"/>
              </a:ext>
            </a:extLst>
          </p:cNvPr>
          <p:cNvSpPr txBox="1">
            <a:spLocks/>
          </p:cNvSpPr>
          <p:nvPr/>
        </p:nvSpPr>
        <p:spPr>
          <a:xfrm>
            <a:off x="4961843" y="2975211"/>
            <a:ext cx="7015665" cy="3494314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805"/>
            <a:r>
              <a:rPr lang="en-US" sz="2400" b="1"/>
              <a:t>Previous Federal Funds Partnership Meeting Tuesday, March 25</a:t>
            </a:r>
            <a:r>
              <a:rPr lang="en-US" sz="2400" b="1" baseline="30000"/>
              <a:t>th</a:t>
            </a:r>
            <a:endParaRPr lang="en-US" sz="2400"/>
          </a:p>
          <a:p>
            <a:pPr marL="447675" lvl="2"/>
            <a:r>
              <a:rPr lang="en-US" sz="2000"/>
              <a:t>Project Prioritization</a:t>
            </a:r>
          </a:p>
          <a:p>
            <a:pPr marL="447675" lvl="2"/>
            <a:r>
              <a:rPr lang="en-US" sz="2000"/>
              <a:t>MBI Launchpad Program Presentation</a:t>
            </a:r>
          </a:p>
          <a:p>
            <a:pPr marL="90805"/>
            <a:r>
              <a:rPr lang="en-US" sz="2400" b="1"/>
              <a:t>Next Federal Funds Partnership Meeting Tuesday, April 22</a:t>
            </a:r>
            <a:r>
              <a:rPr lang="en-US" sz="2400" b="1" baseline="30000"/>
              <a:t>nd </a:t>
            </a:r>
            <a:endParaRPr lang="en-US" sz="2400"/>
          </a:p>
          <a:p>
            <a:pPr marL="447675" lvl="2"/>
            <a:r>
              <a:rPr lang="en-US" sz="2000"/>
              <a:t>Safe Streets and Roads for All (SS4A) Presentation </a:t>
            </a:r>
          </a:p>
          <a:p>
            <a:pPr marL="0" indent="0">
              <a:buNone/>
            </a:pPr>
            <a:endParaRPr lang="en-US" sz="2400" b="1" baseline="30000"/>
          </a:p>
        </p:txBody>
      </p:sp>
    </p:spTree>
    <p:extLst>
      <p:ext uri="{BB962C8B-B14F-4D97-AF65-F5344CB8AC3E}">
        <p14:creationId xmlns:p14="http://schemas.microsoft.com/office/powerpoint/2010/main" val="1561720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9E4C68A-A4A9-48A4-9FF2-D2896B1EA0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2B9AEA5-52CB-49A6-AF8A-33502F291B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6542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643468" y="643467"/>
            <a:ext cx="3415612" cy="55710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engagement with RPA</a:t>
            </a:r>
            <a:r>
              <a:rPr kumimoji="0" lang="en-US" sz="5000" b="0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s</a:t>
            </a: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 and federally recognized trib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C99D162D-B2EC-B50A-919C-1363298DF8EA}"/>
              </a:ext>
            </a:extLst>
          </p:cNvPr>
          <p:cNvSpPr txBox="1">
            <a:spLocks/>
          </p:cNvSpPr>
          <p:nvPr/>
        </p:nvSpPr>
        <p:spPr>
          <a:xfrm>
            <a:off x="4899105" y="511628"/>
            <a:ext cx="7048085" cy="6024649"/>
          </a:xfrm>
          <a:prstGeom prst="rect">
            <a:avLst/>
          </a:prstGeom>
        </p:spPr>
        <p:txBody>
          <a:bodyPr vert="horz" lIns="45720" tIns="45720" rIns="45720" bIns="45720" rtlCol="0" anchor="ctr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Tw Cen MT" panose="020B0602020104020603" pitchFamily="34" charset="0"/>
              <a:buChar char=" 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7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0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7724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144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60704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16152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62456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Wingdings 3" pitchFamily="18" charset="2"/>
              <a:buChar char="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805"/>
            <a:r>
              <a:rPr lang="en-US" sz="2400" b="1"/>
              <a:t>Previous Monthly Meeting with MARPA + Federally Recognized Tribes Friday, March 7</a:t>
            </a:r>
            <a:r>
              <a:rPr lang="en-US" sz="2400" b="1" baseline="30000"/>
              <a:t>th</a:t>
            </a:r>
            <a:endParaRPr lang="en-US" sz="1600" b="1"/>
          </a:p>
          <a:p>
            <a:pPr marL="447675" lvl="2"/>
            <a:r>
              <a:rPr lang="en-US" sz="2000"/>
              <a:t>Project Prioritization </a:t>
            </a:r>
          </a:p>
          <a:p>
            <a:pPr marL="447675" lvl="2"/>
            <a:r>
              <a:rPr lang="en-US" sz="2000"/>
              <a:t>MBI Presentation</a:t>
            </a:r>
          </a:p>
          <a:p>
            <a:pPr marL="90805"/>
            <a:r>
              <a:rPr lang="en-US" sz="2400" b="1"/>
              <a:t>Next Monthly Meeting with MARPA + Federally Recognized Tribes Friday, May 2</a:t>
            </a:r>
            <a:r>
              <a:rPr lang="en-US" sz="2400" b="1" baseline="30000"/>
              <a:t>nd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447675" lvl="2">
              <a:buClr>
                <a:srgbClr val="1CADE4"/>
              </a:buClr>
            </a:pPr>
            <a:r>
              <a:rPr lang="en-US" sz="2000">
                <a:solidFill>
                  <a:prstClr val="black"/>
                </a:solidFill>
              </a:rPr>
              <a:t>Working with RPA’s and agencies to identify technical assistance gaps and priority projects.</a:t>
            </a:r>
            <a:endParaRPr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447675" marR="0" lvl="2" indent="-13716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1CADE4"/>
              </a:buClr>
              <a:buSzTx/>
              <a:buFont typeface="Wingdings 3" pitchFamily="18" charset="2"/>
              <a:buChar char="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6720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61B7AD68-2546-FA2F-A2F2-6C54E2284F2F}"/>
              </a:ext>
            </a:extLst>
          </p:cNvPr>
          <p:cNvSpPr txBox="1">
            <a:spLocks/>
          </p:cNvSpPr>
          <p:nvPr/>
        </p:nvSpPr>
        <p:spPr>
          <a:xfrm>
            <a:off x="1024128" y="585216"/>
            <a:ext cx="80182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5000" kern="1200" cap="all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0" i="0" u="none" strike="noStrike" kern="1200" cap="all" spc="100" normalizeH="0" baseline="0" noProof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Tw Cen MT Condensed" panose="020B0606020104020203"/>
                <a:ea typeface="+mj-ea"/>
                <a:cs typeface="+mj-cs"/>
              </a:rPr>
              <a:t>FFIO Community Tou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8FAB71-C6D9-69C6-15E1-74EEA1262BB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97548" y="1566852"/>
            <a:ext cx="6062955" cy="4022725"/>
          </a:xfrm>
        </p:spPr>
        <p:txBody>
          <a:bodyPr vert="horz" lIns="45720" tIns="45720" rIns="45720" bIns="45720" rtlCol="0" anchor="t">
            <a:normAutofit/>
          </a:bodyPr>
          <a:lstStyle/>
          <a:p>
            <a:pPr marL="342900" lvl="1" indent="-342900"/>
            <a:endParaRPr lang="en-US" sz="2400" b="1"/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INFORMATION SHARING</a:t>
            </a:r>
            <a:r>
              <a:rPr lang="en-US" sz="1800"/>
              <a:t>: Provide information on federal grant application resources made available by the new legislation 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UNDERSTAND NEEDS AND PRIORITIES</a:t>
            </a:r>
            <a:r>
              <a:rPr lang="en-US" sz="1800" b="1"/>
              <a:t>: </a:t>
            </a:r>
            <a:r>
              <a:rPr lang="en-US" sz="1800"/>
              <a:t>Seek community input on priority projects seeking federal funding</a:t>
            </a:r>
          </a:p>
          <a:p>
            <a:pPr marL="525780" lvl="2" indent="-342900"/>
            <a:r>
              <a:rPr lang="en-US" sz="1800" b="1">
                <a:solidFill>
                  <a:srgbClr val="1CADE4"/>
                </a:solidFill>
              </a:rPr>
              <a:t>GATHER FEEDBACK</a:t>
            </a:r>
            <a:r>
              <a:rPr lang="en-US" sz="1800"/>
              <a:t>: Solicit feedback on the Federal Funds Partnership and other FFIO processes</a:t>
            </a:r>
          </a:p>
          <a:p>
            <a:pPr marL="182880" lvl="2" indent="0">
              <a:buNone/>
            </a:pPr>
            <a:endParaRPr lang="en-US" sz="18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E2242C-82E8-D3DC-02DB-C1379B48FA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11788" y="758"/>
            <a:ext cx="5297014" cy="6856975"/>
          </a:xfrm>
          <a:prstGeom prst="rect">
            <a:avLst/>
          </a:prstGeom>
        </p:spPr>
      </p:pic>
      <p:pic>
        <p:nvPicPr>
          <p:cNvPr id="15" name="Graphic 14" descr="Marker outline">
            <a:extLst>
              <a:ext uri="{FF2B5EF4-FFF2-40B4-BE49-F238E27FC236}">
                <a16:creationId xmlns:a16="http://schemas.microsoft.com/office/drawing/2014/main" id="{D6F6D2DC-A141-97FA-86B7-BC9C355ACC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8331" y="4420109"/>
            <a:ext cx="706120" cy="706120"/>
          </a:xfrm>
          <a:prstGeom prst="rect">
            <a:avLst/>
          </a:prstGeom>
        </p:spPr>
      </p:pic>
      <p:cxnSp>
        <p:nvCxnSpPr>
          <p:cNvPr id="16" name="Connector: Curved 18">
            <a:extLst>
              <a:ext uri="{FF2B5EF4-FFF2-40B4-BE49-F238E27FC236}">
                <a16:creationId xmlns:a16="http://schemas.microsoft.com/office/drawing/2014/main" id="{598D7587-8673-9E9A-8327-9A0EA590F182}"/>
              </a:ext>
            </a:extLst>
          </p:cNvPr>
          <p:cNvCxnSpPr>
            <a:cxnSpLocks/>
          </p:cNvCxnSpPr>
          <p:nvPr/>
        </p:nvCxnSpPr>
        <p:spPr>
          <a:xfrm>
            <a:off x="557392" y="5046746"/>
            <a:ext cx="1097354" cy="1051781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7" name="Connector: Curved 20">
            <a:extLst>
              <a:ext uri="{FF2B5EF4-FFF2-40B4-BE49-F238E27FC236}">
                <a16:creationId xmlns:a16="http://schemas.microsoft.com/office/drawing/2014/main" id="{6C61E914-8ED6-75FB-7E05-D33B707D9243}"/>
              </a:ext>
            </a:extLst>
          </p:cNvPr>
          <p:cNvCxnSpPr>
            <a:cxnSpLocks/>
          </p:cNvCxnSpPr>
          <p:nvPr/>
        </p:nvCxnSpPr>
        <p:spPr>
          <a:xfrm flipV="1">
            <a:off x="1648027" y="5765037"/>
            <a:ext cx="1452790" cy="333490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48B3901-F227-88C5-1D1A-F1E84F6CA2CA}"/>
              </a:ext>
            </a:extLst>
          </p:cNvPr>
          <p:cNvSpPr txBox="1"/>
          <p:nvPr/>
        </p:nvSpPr>
        <p:spPr>
          <a:xfrm>
            <a:off x="65796" y="5839456"/>
            <a:ext cx="14445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WORCEST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EC32FC3-55A4-E3AA-754B-93D636BDA57C}"/>
              </a:ext>
            </a:extLst>
          </p:cNvPr>
          <p:cNvSpPr txBox="1"/>
          <p:nvPr/>
        </p:nvSpPr>
        <p:spPr>
          <a:xfrm>
            <a:off x="1514865" y="6088118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AVERHILL</a:t>
            </a:r>
          </a:p>
        </p:txBody>
      </p:sp>
      <p:cxnSp>
        <p:nvCxnSpPr>
          <p:cNvPr id="22" name="Connector: Curved 26">
            <a:extLst>
              <a:ext uri="{FF2B5EF4-FFF2-40B4-BE49-F238E27FC236}">
                <a16:creationId xmlns:a16="http://schemas.microsoft.com/office/drawing/2014/main" id="{16809AB9-1DB2-B4BD-C8E3-541BE5DE6DAB}"/>
              </a:ext>
            </a:extLst>
          </p:cNvPr>
          <p:cNvCxnSpPr>
            <a:cxnSpLocks/>
          </p:cNvCxnSpPr>
          <p:nvPr/>
        </p:nvCxnSpPr>
        <p:spPr>
          <a:xfrm flipV="1">
            <a:off x="3159756" y="5126229"/>
            <a:ext cx="1442791" cy="638807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9F98E5EC-484A-62A9-5DE6-CE7D504A60E8}"/>
              </a:ext>
            </a:extLst>
          </p:cNvPr>
          <p:cNvCxnSpPr>
            <a:cxnSpLocks/>
          </p:cNvCxnSpPr>
          <p:nvPr/>
        </p:nvCxnSpPr>
        <p:spPr>
          <a:xfrm>
            <a:off x="6660503" y="5602090"/>
            <a:ext cx="20429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Connector: Curved 5">
            <a:extLst>
              <a:ext uri="{FF2B5EF4-FFF2-40B4-BE49-F238E27FC236}">
                <a16:creationId xmlns:a16="http://schemas.microsoft.com/office/drawing/2014/main" id="{8DF9F752-057A-E7CF-1039-AE6C1C6BADAB}"/>
              </a:ext>
            </a:extLst>
          </p:cNvPr>
          <p:cNvCxnSpPr>
            <a:cxnSpLocks/>
          </p:cNvCxnSpPr>
          <p:nvPr/>
        </p:nvCxnSpPr>
        <p:spPr>
          <a:xfrm>
            <a:off x="4686827" y="5126229"/>
            <a:ext cx="2067748" cy="475861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30" name="Graphic 29" descr="Marker outline">
            <a:extLst>
              <a:ext uri="{FF2B5EF4-FFF2-40B4-BE49-F238E27FC236}">
                <a16:creationId xmlns:a16="http://schemas.microsoft.com/office/drawing/2014/main" id="{6E51326A-F30E-E61E-943B-9BD6E2A05CE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03109" y="4460746"/>
            <a:ext cx="706120" cy="70612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34D20D0F-6FCF-BDE8-9715-EA5D7DCB6742}"/>
              </a:ext>
            </a:extLst>
          </p:cNvPr>
          <p:cNvSpPr txBox="1"/>
          <p:nvPr/>
        </p:nvSpPr>
        <p:spPr>
          <a:xfrm>
            <a:off x="2616486" y="5798858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ROCKTON</a:t>
            </a:r>
          </a:p>
        </p:txBody>
      </p:sp>
      <p:pic>
        <p:nvPicPr>
          <p:cNvPr id="32" name="Graphic 31" descr="Marker outline">
            <a:extLst>
              <a:ext uri="{FF2B5EF4-FFF2-40B4-BE49-F238E27FC236}">
                <a16:creationId xmlns:a16="http://schemas.microsoft.com/office/drawing/2014/main" id="{461E03C6-3418-4142-F0BE-8319D9A8F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886823">
            <a:off x="978350" y="5170159"/>
            <a:ext cx="706120" cy="706120"/>
          </a:xfrm>
          <a:prstGeom prst="rect">
            <a:avLst/>
          </a:prstGeom>
        </p:spPr>
      </p:pic>
      <p:pic>
        <p:nvPicPr>
          <p:cNvPr id="33" name="Graphic 32" descr="Marker outline">
            <a:extLst>
              <a:ext uri="{FF2B5EF4-FFF2-40B4-BE49-F238E27FC236}">
                <a16:creationId xmlns:a16="http://schemas.microsoft.com/office/drawing/2014/main" id="{7A8BCF02-3215-3FF9-1768-74F3EAB5D1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40903" y="5392407"/>
            <a:ext cx="706120" cy="706120"/>
          </a:xfrm>
          <a:prstGeom prst="rect">
            <a:avLst/>
          </a:prstGeom>
        </p:spPr>
      </p:pic>
      <p:pic>
        <p:nvPicPr>
          <p:cNvPr id="34" name="Graphic 33" descr="Marker outline">
            <a:extLst>
              <a:ext uri="{FF2B5EF4-FFF2-40B4-BE49-F238E27FC236}">
                <a16:creationId xmlns:a16="http://schemas.microsoft.com/office/drawing/2014/main" id="{BD3586F9-80B9-C433-BABC-82FB4705D8A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43463" y="4863900"/>
            <a:ext cx="706120" cy="70612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45408371-3851-6DEC-FF02-1841D0A4600B}"/>
              </a:ext>
            </a:extLst>
          </p:cNvPr>
          <p:cNvSpPr txBox="1"/>
          <p:nvPr/>
        </p:nvSpPr>
        <p:spPr>
          <a:xfrm>
            <a:off x="5119857" y="5539961"/>
            <a:ext cx="163289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>
                <a:solidFill>
                  <a:prstClr val="black"/>
                </a:solidFill>
                <a:latin typeface="Tw Cen MT" panose="020B0602020104020603"/>
              </a:rPr>
              <a:t>SPRINGFIELD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  (May </a:t>
            </a:r>
            <a:r>
              <a:rPr lang="en-US" sz="1400">
                <a:solidFill>
                  <a:srgbClr val="FF0000"/>
                </a:solidFill>
                <a:latin typeface="Tw Cen MT" panose="020B0602020104020603"/>
              </a:rPr>
              <a:t>7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)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7FEAEA-740E-6548-30B4-6E689E767ED4}"/>
              </a:ext>
            </a:extLst>
          </p:cNvPr>
          <p:cNvSpPr txBox="1"/>
          <p:nvPr/>
        </p:nvSpPr>
        <p:spPr>
          <a:xfrm>
            <a:off x="-64698" y="5126229"/>
            <a:ext cx="12968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PITTSFIELD</a:t>
            </a:r>
          </a:p>
        </p:txBody>
      </p:sp>
      <p:pic>
        <p:nvPicPr>
          <p:cNvPr id="2" name="Graphic 1" descr="Marker outline">
            <a:extLst>
              <a:ext uri="{FF2B5EF4-FFF2-40B4-BE49-F238E27FC236}">
                <a16:creationId xmlns:a16="http://schemas.microsoft.com/office/drawing/2014/main" id="{8D4498DC-8481-1115-F6D5-D44A324B50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97941" y="5105388"/>
            <a:ext cx="706120" cy="7061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E1EECB5-E59E-617E-1A65-A11915846272}"/>
              </a:ext>
            </a:extLst>
          </p:cNvPr>
          <p:cNvSpPr txBox="1"/>
          <p:nvPr/>
        </p:nvSpPr>
        <p:spPr>
          <a:xfrm>
            <a:off x="4041927" y="5200687"/>
            <a:ext cx="163289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BOSTON</a:t>
            </a:r>
          </a:p>
        </p:txBody>
      </p:sp>
    </p:spTree>
    <p:extLst>
      <p:ext uri="{BB962C8B-B14F-4D97-AF65-F5344CB8AC3E}">
        <p14:creationId xmlns:p14="http://schemas.microsoft.com/office/powerpoint/2010/main" val="2756520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07F9AB2-349C-03F4-FEE1-7D30744692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23C29CE1-614F-8685-04FE-0C62134261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6" name="Oval 5">
            <a:extLst>
              <a:ext uri="{FF2B5EF4-FFF2-40B4-BE49-F238E27FC236}">
                <a16:creationId xmlns:a16="http://schemas.microsoft.com/office/drawing/2014/main" id="{ADB627A5-C098-58C9-7569-1A5AC8AF31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9173BB5-8D65-AF38-334C-B9633F79C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0" name="Rectangle 29">
            <a:extLst>
              <a:ext uri="{FF2B5EF4-FFF2-40B4-BE49-F238E27FC236}">
                <a16:creationId xmlns:a16="http://schemas.microsoft.com/office/drawing/2014/main" id="{8816B0C4-5684-A854-4A99-0BCA2A006F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726" cy="68589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77BB09-A5C4-6B9C-C2BA-6385B50BF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466" y="1534475"/>
            <a:ext cx="6992351" cy="386155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6000" spc="200"/>
              <a:t>Federal Matching Funds Legisl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FDFA2E9-B1BE-77B7-B8D7-06E6F05596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19870" y="0"/>
            <a:ext cx="407213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578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1">
      <a:dk1>
        <a:sysClr val="windowText" lastClr="000000"/>
      </a:dk1>
      <a:lt1>
        <a:sysClr val="window" lastClr="FFFFFF"/>
      </a:lt1>
      <a:dk2>
        <a:srgbClr val="1CADE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terior Layou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t">
        <a:noAutofit/>
      </a:bodyPr>
      <a:lstStyle>
        <a:defPPr algn="l">
          <a:defRPr sz="5500" dirty="0"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Style-1 Content Slides">
  <a:themeElements>
    <a:clrScheme name="MassCEC">
      <a:dk1>
        <a:srgbClr val="000000"/>
      </a:dk1>
      <a:lt1>
        <a:srgbClr val="FFFFFF"/>
      </a:lt1>
      <a:dk2>
        <a:srgbClr val="0065A4"/>
      </a:dk2>
      <a:lt2>
        <a:srgbClr val="79C142"/>
      </a:lt2>
      <a:accent1>
        <a:srgbClr val="0065A4"/>
      </a:accent1>
      <a:accent2>
        <a:srgbClr val="79C142"/>
      </a:accent2>
      <a:accent3>
        <a:srgbClr val="FF5F00"/>
      </a:accent3>
      <a:accent4>
        <a:srgbClr val="FEF200"/>
      </a:accent4>
      <a:accent5>
        <a:srgbClr val="133D71"/>
      </a:accent5>
      <a:accent6>
        <a:srgbClr val="F2F7FA"/>
      </a:accent6>
      <a:hlink>
        <a:srgbClr val="0065A4"/>
      </a:hlink>
      <a:folHlink>
        <a:srgbClr val="579DC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F497D"/>
      </a:accent1>
      <a:accent2>
        <a:srgbClr val="4F81BD"/>
      </a:accent2>
      <a:accent3>
        <a:srgbClr val="C0504D"/>
      </a:accent3>
      <a:accent4>
        <a:srgbClr val="9BBB59"/>
      </a:accent4>
      <a:accent5>
        <a:srgbClr val="00269E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6.xml><?xml version="1.0" encoding="utf-8"?>
<a:theme xmlns:a="http://schemas.openxmlformats.org/drawingml/2006/main" name="1_Style-1 Content Slides">
  <a:themeElements>
    <a:clrScheme name="MassCEC">
      <a:dk1>
        <a:srgbClr val="000000"/>
      </a:dk1>
      <a:lt1>
        <a:srgbClr val="FFFFFF"/>
      </a:lt1>
      <a:dk2>
        <a:srgbClr val="0065A4"/>
      </a:dk2>
      <a:lt2>
        <a:srgbClr val="79C142"/>
      </a:lt2>
      <a:accent1>
        <a:srgbClr val="0065A4"/>
      </a:accent1>
      <a:accent2>
        <a:srgbClr val="79C142"/>
      </a:accent2>
      <a:accent3>
        <a:srgbClr val="FF5F00"/>
      </a:accent3>
      <a:accent4>
        <a:srgbClr val="FEF200"/>
      </a:accent4>
      <a:accent5>
        <a:srgbClr val="133D71"/>
      </a:accent5>
      <a:accent6>
        <a:srgbClr val="F2F7FA"/>
      </a:accent6>
      <a:hlink>
        <a:srgbClr val="0065A4"/>
      </a:hlink>
      <a:folHlink>
        <a:srgbClr val="579DC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MassDO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sDOT Theme" id="{8C841E2C-D113-4A07-8750-B878236504B5}" vid="{760B4F15-3A7B-4AEF-82C0-11FA9FAF662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d5013aa-fb15-41bb-bd6f-83b72aea7b34">
      <UserInfo>
        <DisplayName>Palfrey, Quentin (GOV)</DisplayName>
        <AccountId>14</AccountId>
        <AccountType/>
      </UserInfo>
      <UserInfo>
        <DisplayName>Groustra, Ben (A&amp;F)</DisplayName>
        <AccountId>12</AccountId>
        <AccountType/>
      </UserInfo>
      <UserInfo>
        <DisplayName>Brunelle, Roger (A&amp;F)</DisplayName>
        <AccountId>19</AccountId>
        <AccountType/>
      </UserInfo>
      <UserInfo>
        <DisplayName>Jauhar, Mehar (A&amp;F)</DisplayName>
        <AccountId>20</AccountId>
        <AccountType/>
      </UserInfo>
      <UserInfo>
        <DisplayName>Jeffrey, Sydney (A&amp;F)</DisplayName>
        <AccountId>25</AccountId>
        <AccountType/>
      </UserInfo>
      <UserInfo>
        <DisplayName>zzMartinez, Christina H  (A&amp;F)</DisplayName>
        <AccountId>26</AccountId>
        <AccountType/>
      </UserInfo>
      <UserInfo>
        <DisplayName>Fritz, Samuel B. (ANF)</DisplayName>
        <AccountId>27</AccountId>
        <AccountType/>
      </UserInfo>
      <UserInfo>
        <DisplayName>Leonarte Paredes, Micaela (A&amp;F)</DisplayName>
        <AccountId>116</AccountId>
        <AccountType/>
      </UserInfo>
      <UserInfo>
        <DisplayName>LaRocca, Robert E. (A&amp;F)</DisplayName>
        <AccountId>149</AccountId>
        <AccountType/>
      </UserInfo>
      <UserInfo>
        <DisplayName>O'Hanlon, Rory C.  (EOED)</DisplayName>
        <AccountId>205</AccountId>
        <AccountType/>
      </UserInfo>
      <UserInfo>
        <DisplayName>Schrag, Jonathan (GOV)</DisplayName>
        <AccountId>89</AccountId>
        <AccountType/>
      </UserInfo>
    </SharedWithUsers>
    <lcf76f155ced4ddcb4097134ff3c332f xmlns="bca20fd0-1d1f-44ac-8486-0fcbd3ca37a4">
      <Terms xmlns="http://schemas.microsoft.com/office/infopath/2007/PartnerControls"/>
    </lcf76f155ced4ddcb4097134ff3c332f>
    <TaxCatchAll xmlns="2d5013aa-fb15-41bb-bd6f-83b72aea7b3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67D306CC2AB9439580D8D9E7721135" ma:contentTypeVersion="14" ma:contentTypeDescription="Create a new document." ma:contentTypeScope="" ma:versionID="3ebc0c2e3e562912fa27ee86ec372a89">
  <xsd:schema xmlns:xsd="http://www.w3.org/2001/XMLSchema" xmlns:xs="http://www.w3.org/2001/XMLSchema" xmlns:p="http://schemas.microsoft.com/office/2006/metadata/properties" xmlns:ns2="bca20fd0-1d1f-44ac-8486-0fcbd3ca37a4" xmlns:ns3="2d5013aa-fb15-41bb-bd6f-83b72aea7b34" targetNamespace="http://schemas.microsoft.com/office/2006/metadata/properties" ma:root="true" ma:fieldsID="be003f2b293049502281ee85cb697aa6" ns2:_="" ns3:_="">
    <xsd:import namespace="bca20fd0-1d1f-44ac-8486-0fcbd3ca37a4"/>
    <xsd:import namespace="2d5013aa-fb15-41bb-bd6f-83b72aea7b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a20fd0-1d1f-44ac-8486-0fcbd3ca37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5013aa-fb15-41bb-bd6f-83b72aea7b3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97debb64-58ec-418c-bee6-31f5618343a5}" ma:internalName="TaxCatchAll" ma:showField="CatchAllData" ma:web="2d5013aa-fb15-41bb-bd6f-83b72aea7b3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2BE746-F5D5-45BB-B1F3-AD790BE73D0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7EFCB44-F934-48E1-839D-62E910D0DDA7}">
  <ds:schemaRefs>
    <ds:schemaRef ds:uri="2d5013aa-fb15-41bb-bd6f-83b72aea7b34"/>
    <ds:schemaRef ds:uri="bca20fd0-1d1f-44ac-8486-0fcbd3ca37a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398910C-D7E4-478E-9AFE-7450B1AAA437}">
  <ds:schemaRefs>
    <ds:schemaRef ds:uri="2d5013aa-fb15-41bb-bd6f-83b72aea7b34"/>
    <ds:schemaRef ds:uri="bca20fd0-1d1f-44ac-8486-0fcbd3ca37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30</Words>
  <Application>Microsoft Office PowerPoint</Application>
  <PresentationFormat>Widescreen</PresentationFormat>
  <Paragraphs>409</Paragraphs>
  <Slides>46</Slides>
  <Notes>15</Notes>
  <HiddenSlides>0</HiddenSlides>
  <MMClips>1</MMClips>
  <ScaleCrop>false</ScaleCrop>
  <HeadingPairs>
    <vt:vector size="8" baseType="variant">
      <vt:variant>
        <vt:lpstr>Fonts Used</vt:lpstr>
      </vt:variant>
      <vt:variant>
        <vt:i4>2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80" baseType="lpstr">
      <vt:lpstr>Arial</vt:lpstr>
      <vt:lpstr>Arial,Sans-Serif</vt:lpstr>
      <vt:lpstr>Calibri</vt:lpstr>
      <vt:lpstr>Calibri Light</vt:lpstr>
      <vt:lpstr>Canva Sans</vt:lpstr>
      <vt:lpstr>Canva Sans Bold</vt:lpstr>
      <vt:lpstr>Courier New</vt:lpstr>
      <vt:lpstr>DM Serif Display</vt:lpstr>
      <vt:lpstr>Georgia Pro Bold</vt:lpstr>
      <vt:lpstr>Helvetica</vt:lpstr>
      <vt:lpstr>Helvetica Light</vt:lpstr>
      <vt:lpstr>Helvetica Neue</vt:lpstr>
      <vt:lpstr>HelveticaNeueLT Std</vt:lpstr>
      <vt:lpstr>ITCErasStd-Demi</vt:lpstr>
      <vt:lpstr>Poppins</vt:lpstr>
      <vt:lpstr>Segoe UI</vt:lpstr>
      <vt:lpstr>System Font Regular</vt:lpstr>
      <vt:lpstr>Times New Roman</vt:lpstr>
      <vt:lpstr>TW Cen MT</vt:lpstr>
      <vt:lpstr>TW Cen MT</vt:lpstr>
      <vt:lpstr>Tw Cen MT Condensed</vt:lpstr>
      <vt:lpstr>Wingdings</vt:lpstr>
      <vt:lpstr>Wingdings 3</vt:lpstr>
      <vt:lpstr>Zapf Dingbats</vt:lpstr>
      <vt:lpstr>Integral</vt:lpstr>
      <vt:lpstr>Interior Layouts</vt:lpstr>
      <vt:lpstr>6_Style-1 Content Slides</vt:lpstr>
      <vt:lpstr>2_Office Theme</vt:lpstr>
      <vt:lpstr>1_White</vt:lpstr>
      <vt:lpstr>1_Style-1 Content Slides</vt:lpstr>
      <vt:lpstr>office theme</vt:lpstr>
      <vt:lpstr>1_Office Theme</vt:lpstr>
      <vt:lpstr>MassDOT Theme</vt:lpstr>
      <vt:lpstr>think-cell Slide</vt:lpstr>
      <vt:lpstr>Federal funds &amp; infrastructure office community tour</vt:lpstr>
      <vt:lpstr>Municipal needs survey</vt:lpstr>
      <vt:lpstr>Agenda</vt:lpstr>
      <vt:lpstr>About the Federal Funds and Infrastructure Office (FFIO)</vt:lpstr>
      <vt:lpstr>Local Government Engagement</vt:lpstr>
      <vt:lpstr>PowerPoint Presentation</vt:lpstr>
      <vt:lpstr>PowerPoint Presentation</vt:lpstr>
      <vt:lpstr>PowerPoint Presentation</vt:lpstr>
      <vt:lpstr>Federal Matching Funds Legislation</vt:lpstr>
      <vt:lpstr>PowerPoint Presentation</vt:lpstr>
      <vt:lpstr>PowerPoint Presentation</vt:lpstr>
      <vt:lpstr>PowerPoint Presentation</vt:lpstr>
      <vt:lpstr>New Federal Funding Opportunities</vt:lpstr>
      <vt:lpstr>PowerPoint Presentation</vt:lpstr>
      <vt:lpstr>PowerPoint Presentation</vt:lpstr>
      <vt:lpstr>PowerPoint Presentation</vt:lpstr>
      <vt:lpstr>PowerPoint Presentation</vt:lpstr>
      <vt:lpstr>Other opportunities:</vt:lpstr>
      <vt:lpstr>MassDOT Municipal Grants   </vt:lpstr>
      <vt:lpstr>About the Municipal Grants Engagement (MGE) Group </vt:lpstr>
      <vt:lpstr>Municipal Grants Engagement Group Resources</vt:lpstr>
      <vt:lpstr>PowerPoint Presentation</vt:lpstr>
      <vt:lpstr>PowerPoint Presentation</vt:lpstr>
      <vt:lpstr>PowerPoint Presentation</vt:lpstr>
      <vt:lpstr>Key Dates</vt:lpstr>
      <vt:lpstr>Resources and Contact Information</vt:lpstr>
      <vt:lpstr>Direct Pay Overview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nicipal needs survey</vt:lpstr>
      <vt:lpstr>Discussion and q&amp;a </vt:lpstr>
      <vt:lpstr>PowerPoint Presentation</vt:lpstr>
    </vt:vector>
  </TitlesOfParts>
  <Company>Commonwealth of Massachuset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deral Funds &amp; Infrastructure Task Force</dc:title>
  <dc:creator>Palfrey, Quentin (GOV)</dc:creator>
  <cp:lastModifiedBy>Fritz, Samuel B. (A&amp;F)</cp:lastModifiedBy>
  <cp:revision>1</cp:revision>
  <cp:lastPrinted>2024-10-16T17:09:59Z</cp:lastPrinted>
  <dcterms:created xsi:type="dcterms:W3CDTF">2023-03-29T20:35:22Z</dcterms:created>
  <dcterms:modified xsi:type="dcterms:W3CDTF">2025-04-14T15:2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67D306CC2AB9439580D8D9E7721135</vt:lpwstr>
  </property>
  <property fmtid="{D5CDD505-2E9C-101B-9397-08002B2CF9AE}" pid="3" name="MediaServiceImageTags">
    <vt:lpwstr/>
  </property>
</Properties>
</file>